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1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3.xml" ContentType="application/vnd.openxmlformats-officedocument.them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4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5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6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17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8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9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0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829" r:id="rId4"/>
    <p:sldMasterId id="2147483850" r:id="rId5"/>
    <p:sldMasterId id="2147483859" r:id="rId6"/>
    <p:sldMasterId id="2147483862" r:id="rId7"/>
    <p:sldMasterId id="2147483884" r:id="rId8"/>
    <p:sldMasterId id="2147483910" r:id="rId9"/>
    <p:sldMasterId id="2147483926" r:id="rId10"/>
    <p:sldMasterId id="2147483942" r:id="rId11"/>
    <p:sldMasterId id="2147483966" r:id="rId12"/>
    <p:sldMasterId id="2147483984" r:id="rId13"/>
    <p:sldMasterId id="2147483997" r:id="rId14"/>
    <p:sldMasterId id="2147484011" r:id="rId15"/>
    <p:sldMasterId id="2147484024" r:id="rId16"/>
    <p:sldMasterId id="2147484038" r:id="rId17"/>
    <p:sldMasterId id="2147484054" r:id="rId18"/>
    <p:sldMasterId id="2147484073" r:id="rId19"/>
    <p:sldMasterId id="2147484089" r:id="rId20"/>
    <p:sldMasterId id="2147484103" r:id="rId21"/>
    <p:sldMasterId id="2147484115" r:id="rId22"/>
    <p:sldMasterId id="2147484128" r:id="rId23"/>
    <p:sldMasterId id="2147484138" r:id="rId24"/>
  </p:sldMasterIdLst>
  <p:notesMasterIdLst>
    <p:notesMasterId r:id="rId47"/>
  </p:notesMasterIdLst>
  <p:handoutMasterIdLst>
    <p:handoutMasterId r:id="rId48"/>
  </p:handoutMasterIdLst>
  <p:sldIdLst>
    <p:sldId id="1127" r:id="rId25"/>
    <p:sldId id="1272" r:id="rId26"/>
    <p:sldId id="1273" r:id="rId27"/>
    <p:sldId id="1238" r:id="rId28"/>
    <p:sldId id="1240" r:id="rId29"/>
    <p:sldId id="1245" r:id="rId30"/>
    <p:sldId id="1262" r:id="rId31"/>
    <p:sldId id="1249" r:id="rId32"/>
    <p:sldId id="1276" r:id="rId33"/>
    <p:sldId id="1277" r:id="rId34"/>
    <p:sldId id="1248" r:id="rId35"/>
    <p:sldId id="1258" r:id="rId36"/>
    <p:sldId id="1259" r:id="rId37"/>
    <p:sldId id="1260" r:id="rId38"/>
    <p:sldId id="1261" r:id="rId39"/>
    <p:sldId id="1265" r:id="rId40"/>
    <p:sldId id="1263" r:id="rId41"/>
    <p:sldId id="1264" r:id="rId42"/>
    <p:sldId id="1266" r:id="rId43"/>
    <p:sldId id="1221" r:id="rId44"/>
    <p:sldId id="1270" r:id="rId45"/>
    <p:sldId id="1271" r:id="rId46"/>
  </p:sldIdLst>
  <p:sldSz cx="9144000" cy="5143500" type="screen16x9"/>
  <p:notesSz cx="6950075" cy="9236075"/>
  <p:defaultTextStyle>
    <a:defPPr>
      <a:defRPr lang="en-US"/>
    </a:defPPr>
    <a:lvl1pPr marL="0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25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52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76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03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28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54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80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06" algn="l" defTabSz="9142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D326FA5-4636-415C-9B33-9D37DB27E3BE}">
          <p14:sldIdLst>
            <p14:sldId id="1127"/>
            <p14:sldId id="1272"/>
            <p14:sldId id="1273"/>
            <p14:sldId id="1238"/>
            <p14:sldId id="1240"/>
            <p14:sldId id="1245"/>
            <p14:sldId id="1262"/>
            <p14:sldId id="1249"/>
            <p14:sldId id="1276"/>
            <p14:sldId id="1277"/>
            <p14:sldId id="1248"/>
            <p14:sldId id="1258"/>
            <p14:sldId id="1259"/>
            <p14:sldId id="1260"/>
            <p14:sldId id="1261"/>
            <p14:sldId id="1265"/>
            <p14:sldId id="1263"/>
            <p14:sldId id="1264"/>
            <p14:sldId id="1266"/>
            <p14:sldId id="1221"/>
            <p14:sldId id="1270"/>
            <p14:sldId id="1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06">
          <p15:clr>
            <a:srgbClr val="A4A3A4"/>
          </p15:clr>
        </p15:guide>
        <p15:guide id="2" orient="horz" pos="444">
          <p15:clr>
            <a:srgbClr val="A4A3A4"/>
          </p15:clr>
        </p15:guide>
        <p15:guide id="3" orient="horz" pos="2964" userDrawn="1">
          <p15:clr>
            <a:srgbClr val="A4A3A4"/>
          </p15:clr>
        </p15:guide>
        <p15:guide id="4" orient="horz" pos="308">
          <p15:clr>
            <a:srgbClr val="A4A3A4"/>
          </p15:clr>
        </p15:guide>
        <p15:guide id="5" orient="horz" pos="3180" userDrawn="1">
          <p15:clr>
            <a:srgbClr val="A4A3A4"/>
          </p15:clr>
        </p15:guide>
        <p15:guide id="6" orient="horz" pos="1428" userDrawn="1">
          <p15:clr>
            <a:srgbClr val="A4A3A4"/>
          </p15:clr>
        </p15:guide>
        <p15:guide id="7" orient="horz" pos="2820" userDrawn="1">
          <p15:clr>
            <a:srgbClr val="A4A3A4"/>
          </p15:clr>
        </p15:guide>
        <p15:guide id="8" orient="horz" pos="742">
          <p15:clr>
            <a:srgbClr val="A4A3A4"/>
          </p15:clr>
        </p15:guide>
        <p15:guide id="9" pos="576" userDrawn="1">
          <p15:clr>
            <a:srgbClr val="A4A3A4"/>
          </p15:clr>
        </p15:guide>
        <p15:guide id="10" pos="5640" userDrawn="1">
          <p15:clr>
            <a:srgbClr val="A4A3A4"/>
          </p15:clr>
        </p15:guide>
        <p15:guide id="11" pos="3936" userDrawn="1">
          <p15:clr>
            <a:srgbClr val="A4A3A4"/>
          </p15:clr>
        </p15:guide>
        <p15:guide id="12" pos="47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16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rri Sharp" initials="TS" lastIdx="17" clrIdx="0"/>
  <p:cmAuthor id="1" name="Sherwin Tolentino" initials="ST" lastIdx="2" clrIdx="1"/>
  <p:cmAuthor id="2" name="Arun Sharma" initials="AS" lastIdx="7" clrIdx="2">
    <p:extLst/>
  </p:cmAuthor>
  <p:cmAuthor id="3" name="Peter" initials="PKR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86AB"/>
    <a:srgbClr val="99CCFF"/>
    <a:srgbClr val="FFFF99"/>
    <a:srgbClr val="99FF99"/>
    <a:srgbClr val="FFFFCC"/>
    <a:srgbClr val="C2E49C"/>
    <a:srgbClr val="8CB7C7"/>
    <a:srgbClr val="CCFF66"/>
    <a:srgbClr val="FFFFFF"/>
    <a:srgbClr val="EFED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44" autoAdjust="0"/>
    <p:restoredTop sz="92819" autoAdjust="0"/>
  </p:normalViewPr>
  <p:slideViewPr>
    <p:cSldViewPr snapToGrid="0" showGuides="1">
      <p:cViewPr varScale="1">
        <p:scale>
          <a:sx n="91" d="100"/>
          <a:sy n="91" d="100"/>
        </p:scale>
        <p:origin x="774" y="84"/>
      </p:cViewPr>
      <p:guideLst>
        <p:guide orient="horz" pos="506"/>
        <p:guide orient="horz" pos="444"/>
        <p:guide orient="horz" pos="2964"/>
        <p:guide orient="horz" pos="308"/>
        <p:guide orient="horz" pos="3180"/>
        <p:guide orient="horz" pos="1428"/>
        <p:guide orient="horz" pos="2820"/>
        <p:guide orient="horz" pos="742"/>
        <p:guide pos="576"/>
        <p:guide pos="5640"/>
        <p:guide pos="3936"/>
        <p:guide pos="4703"/>
      </p:guideLst>
    </p:cSldViewPr>
  </p:slideViewPr>
  <p:outlineViewPr>
    <p:cViewPr>
      <p:scale>
        <a:sx n="33" d="100"/>
        <a:sy n="33" d="100"/>
      </p:scale>
      <p:origin x="0" y="71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-1938" y="-102"/>
      </p:cViewPr>
      <p:guideLst>
        <p:guide orient="horz" pos="2916"/>
        <p:guide pos="2189"/>
      </p:guideLst>
    </p:cSldViewPr>
  </p:notesViewPr>
  <p:gridSpacing cx="1828800" cy="18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2.xml"/><Relationship Id="rId39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0.xml"/><Relationship Id="rId42" Type="http://schemas.openxmlformats.org/officeDocument/2006/relationships/slide" Target="slides/slide18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slide" Target="slides/slide2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5.xml"/><Relationship Id="rId41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slide" Target="slides/slide16.xml"/><Relationship Id="rId45" Type="http://schemas.openxmlformats.org/officeDocument/2006/relationships/slide" Target="slides/slide21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49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7.xml"/><Relationship Id="rId44" Type="http://schemas.openxmlformats.org/officeDocument/2006/relationships/slide" Target="slides/slide2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slide" Target="slides/slide19.xml"/><Relationship Id="rId48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image" Target="../media/image19.gif"/><Relationship Id="rId4" Type="http://schemas.openxmlformats.org/officeDocument/2006/relationships/image" Target="../media/image22.gif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image" Target="../media/image19.gif"/><Relationship Id="rId4" Type="http://schemas.openxmlformats.org/officeDocument/2006/relationships/image" Target="../media/image22.gif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6BE2F9-2897-4D76-AA9E-5CFC8123EE74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67C0AF56-CB9D-471A-9999-79AB98293A00}">
      <dgm:prSet phldrT="[Text]"/>
      <dgm:spPr/>
      <dgm:t>
        <a:bodyPr/>
        <a:lstStyle/>
        <a:p>
          <a:r>
            <a:rPr lang="en-US" dirty="0" smtClean="0"/>
            <a:t>Beneficiary Validated Data</a:t>
          </a:r>
          <a:endParaRPr lang="en-US" dirty="0"/>
        </a:p>
      </dgm:t>
    </dgm:pt>
    <dgm:pt modelId="{53FF43BB-C0E2-41C0-BD24-C53CA10B18B8}" type="parTrans" cxnId="{870B8488-499F-413A-97C8-E5D2EAF558DE}">
      <dgm:prSet/>
      <dgm:spPr/>
      <dgm:t>
        <a:bodyPr/>
        <a:lstStyle/>
        <a:p>
          <a:endParaRPr lang="en-US"/>
        </a:p>
      </dgm:t>
    </dgm:pt>
    <dgm:pt modelId="{88BBBD00-8D42-4493-AB41-EA877D46D28F}" type="sibTrans" cxnId="{870B8488-499F-413A-97C8-E5D2EAF558DE}">
      <dgm:prSet/>
      <dgm:spPr/>
      <dgm:t>
        <a:bodyPr/>
        <a:lstStyle/>
        <a:p>
          <a:endParaRPr lang="en-US"/>
        </a:p>
      </dgm:t>
    </dgm:pt>
    <dgm:pt modelId="{4E1CC130-BD7A-4424-8334-3FD768CD6EC8}">
      <dgm:prSet phldrT="[Text]"/>
      <dgm:spPr/>
      <dgm:t>
        <a:bodyPr/>
        <a:lstStyle/>
        <a:p>
          <a:r>
            <a:rPr lang="en-US" dirty="0" smtClean="0"/>
            <a:t>MCTS</a:t>
          </a:r>
          <a:endParaRPr lang="en-US" dirty="0"/>
        </a:p>
      </dgm:t>
    </dgm:pt>
    <dgm:pt modelId="{3816D3BB-57DD-4303-9671-F6BFB9E37CE6}" type="parTrans" cxnId="{9D82E22C-37A3-408E-8293-898AA49BD1FB}">
      <dgm:prSet/>
      <dgm:spPr/>
      <dgm:t>
        <a:bodyPr/>
        <a:lstStyle/>
        <a:p>
          <a:endParaRPr lang="en-US"/>
        </a:p>
      </dgm:t>
    </dgm:pt>
    <dgm:pt modelId="{C2B18B18-CBD1-412E-866A-22BC4385E69D}" type="sibTrans" cxnId="{9D82E22C-37A3-408E-8293-898AA49BD1FB}">
      <dgm:prSet/>
      <dgm:spPr/>
      <dgm:t>
        <a:bodyPr/>
        <a:lstStyle/>
        <a:p>
          <a:endParaRPr lang="en-US"/>
        </a:p>
      </dgm:t>
    </dgm:pt>
    <dgm:pt modelId="{001A9629-221D-46A6-9EA0-68D39A66B58C}">
      <dgm:prSet phldrT="[Text]"/>
      <dgm:spPr/>
      <dgm:t>
        <a:bodyPr/>
        <a:lstStyle/>
        <a:p>
          <a:r>
            <a:rPr lang="en-US" dirty="0" smtClean="0"/>
            <a:t>PFMS</a:t>
          </a:r>
          <a:endParaRPr lang="en-US" dirty="0"/>
        </a:p>
      </dgm:t>
    </dgm:pt>
    <dgm:pt modelId="{FBB929DC-D8C2-49E7-8A38-A47DAC92F5B0}" type="parTrans" cxnId="{E6C5A5CD-9481-41A5-9EC1-D0214A4B0A7B}">
      <dgm:prSet/>
      <dgm:spPr/>
      <dgm:t>
        <a:bodyPr/>
        <a:lstStyle/>
        <a:p>
          <a:endParaRPr lang="en-US"/>
        </a:p>
      </dgm:t>
    </dgm:pt>
    <dgm:pt modelId="{4FD3FA0C-5D49-4BD7-AE4A-B98DFC7F3584}" type="sibTrans" cxnId="{E6C5A5CD-9481-41A5-9EC1-D0214A4B0A7B}">
      <dgm:prSet/>
      <dgm:spPr/>
      <dgm:t>
        <a:bodyPr/>
        <a:lstStyle/>
        <a:p>
          <a:endParaRPr lang="en-US"/>
        </a:p>
      </dgm:t>
    </dgm:pt>
    <dgm:pt modelId="{7BCE363D-E036-41B6-B6BC-FFE1BC13F786}" type="pres">
      <dgm:prSet presAssocID="{856BE2F9-2897-4D76-AA9E-5CFC8123EE7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2B99280-885E-4EDD-A9FB-1473A43BC7D2}" type="pres">
      <dgm:prSet presAssocID="{67C0AF56-CB9D-471A-9999-79AB98293A00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ED9225-C7B3-46F8-98AA-BB271928A2F1}" type="pres">
      <dgm:prSet presAssocID="{67C0AF56-CB9D-471A-9999-79AB98293A00}" presName="gear1srcNode" presStyleLbl="node1" presStyleIdx="0" presStyleCnt="3"/>
      <dgm:spPr/>
      <dgm:t>
        <a:bodyPr/>
        <a:lstStyle/>
        <a:p>
          <a:endParaRPr lang="en-US"/>
        </a:p>
      </dgm:t>
    </dgm:pt>
    <dgm:pt modelId="{DC760E63-017D-4701-914D-D4BE7A42EBE2}" type="pres">
      <dgm:prSet presAssocID="{67C0AF56-CB9D-471A-9999-79AB98293A00}" presName="gear1dstNode" presStyleLbl="node1" presStyleIdx="0" presStyleCnt="3"/>
      <dgm:spPr/>
      <dgm:t>
        <a:bodyPr/>
        <a:lstStyle/>
        <a:p>
          <a:endParaRPr lang="en-US"/>
        </a:p>
      </dgm:t>
    </dgm:pt>
    <dgm:pt modelId="{DCAD6917-8091-4F0A-90EE-6F6159820845}" type="pres">
      <dgm:prSet presAssocID="{4E1CC130-BD7A-4424-8334-3FD768CD6EC8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344C8E-45FE-456E-B285-695589CE5FD3}" type="pres">
      <dgm:prSet presAssocID="{4E1CC130-BD7A-4424-8334-3FD768CD6EC8}" presName="gear2srcNode" presStyleLbl="node1" presStyleIdx="1" presStyleCnt="3"/>
      <dgm:spPr/>
      <dgm:t>
        <a:bodyPr/>
        <a:lstStyle/>
        <a:p>
          <a:endParaRPr lang="en-US"/>
        </a:p>
      </dgm:t>
    </dgm:pt>
    <dgm:pt modelId="{CA6447C4-C424-409A-87D6-9586F8B55DD7}" type="pres">
      <dgm:prSet presAssocID="{4E1CC130-BD7A-4424-8334-3FD768CD6EC8}" presName="gear2dstNode" presStyleLbl="node1" presStyleIdx="1" presStyleCnt="3"/>
      <dgm:spPr/>
      <dgm:t>
        <a:bodyPr/>
        <a:lstStyle/>
        <a:p>
          <a:endParaRPr lang="en-US"/>
        </a:p>
      </dgm:t>
    </dgm:pt>
    <dgm:pt modelId="{CE39AF76-D4F1-46D4-B5E5-1B42E6F7D0B4}" type="pres">
      <dgm:prSet presAssocID="{001A9629-221D-46A6-9EA0-68D39A66B58C}" presName="gear3" presStyleLbl="node1" presStyleIdx="2" presStyleCnt="3"/>
      <dgm:spPr/>
      <dgm:t>
        <a:bodyPr/>
        <a:lstStyle/>
        <a:p>
          <a:endParaRPr lang="en-US"/>
        </a:p>
      </dgm:t>
    </dgm:pt>
    <dgm:pt modelId="{99F12885-18C3-49F5-B64C-5B7301FA93AF}" type="pres">
      <dgm:prSet presAssocID="{001A9629-221D-46A6-9EA0-68D39A66B58C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2CD5B8-CE70-4DB1-8FB0-7D7923F06366}" type="pres">
      <dgm:prSet presAssocID="{001A9629-221D-46A6-9EA0-68D39A66B58C}" presName="gear3srcNode" presStyleLbl="node1" presStyleIdx="2" presStyleCnt="3"/>
      <dgm:spPr/>
      <dgm:t>
        <a:bodyPr/>
        <a:lstStyle/>
        <a:p>
          <a:endParaRPr lang="en-US"/>
        </a:p>
      </dgm:t>
    </dgm:pt>
    <dgm:pt modelId="{A3F5A075-CB6B-4620-91DB-5F093C2A1F99}" type="pres">
      <dgm:prSet presAssocID="{001A9629-221D-46A6-9EA0-68D39A66B58C}" presName="gear3dstNode" presStyleLbl="node1" presStyleIdx="2" presStyleCnt="3"/>
      <dgm:spPr/>
      <dgm:t>
        <a:bodyPr/>
        <a:lstStyle/>
        <a:p>
          <a:endParaRPr lang="en-US"/>
        </a:p>
      </dgm:t>
    </dgm:pt>
    <dgm:pt modelId="{1E86111C-581E-42B2-898E-6B60A8C5CF17}" type="pres">
      <dgm:prSet presAssocID="{88BBBD00-8D42-4493-AB41-EA877D46D28F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5021DC7A-985C-4C58-8FEC-EB49EC1C8608}" type="pres">
      <dgm:prSet presAssocID="{C2B18B18-CBD1-412E-866A-22BC4385E69D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6C29AF13-FAC7-4942-BB5C-DEDF0096872E}" type="pres">
      <dgm:prSet presAssocID="{4FD3FA0C-5D49-4BD7-AE4A-B98DFC7F3584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93D1C88A-D777-4F44-B36C-23E02BF452AC}" type="presOf" srcId="{C2B18B18-CBD1-412E-866A-22BC4385E69D}" destId="{5021DC7A-985C-4C58-8FEC-EB49EC1C8608}" srcOrd="0" destOrd="0" presId="urn:microsoft.com/office/officeart/2005/8/layout/gear1"/>
    <dgm:cxn modelId="{46F8BB9F-9674-49CF-A8DD-DDBC5C14A4A8}" type="presOf" srcId="{856BE2F9-2897-4D76-AA9E-5CFC8123EE74}" destId="{7BCE363D-E036-41B6-B6BC-FFE1BC13F786}" srcOrd="0" destOrd="0" presId="urn:microsoft.com/office/officeart/2005/8/layout/gear1"/>
    <dgm:cxn modelId="{24AF77D7-4DF6-4388-8311-B2AC28CD21E1}" type="presOf" srcId="{4E1CC130-BD7A-4424-8334-3FD768CD6EC8}" destId="{DCAD6917-8091-4F0A-90EE-6F6159820845}" srcOrd="0" destOrd="0" presId="urn:microsoft.com/office/officeart/2005/8/layout/gear1"/>
    <dgm:cxn modelId="{4CC619DA-1ED3-4B42-BEC4-4068ACB40A7F}" type="presOf" srcId="{4E1CC130-BD7A-4424-8334-3FD768CD6EC8}" destId="{88344C8E-45FE-456E-B285-695589CE5FD3}" srcOrd="1" destOrd="0" presId="urn:microsoft.com/office/officeart/2005/8/layout/gear1"/>
    <dgm:cxn modelId="{EA49F9ED-971F-462B-AD5A-32F4B0BE0888}" type="presOf" srcId="{4FD3FA0C-5D49-4BD7-AE4A-B98DFC7F3584}" destId="{6C29AF13-FAC7-4942-BB5C-DEDF0096872E}" srcOrd="0" destOrd="0" presId="urn:microsoft.com/office/officeart/2005/8/layout/gear1"/>
    <dgm:cxn modelId="{02745C85-A130-4CC1-8439-4E374F4BC308}" type="presOf" srcId="{67C0AF56-CB9D-471A-9999-79AB98293A00}" destId="{4BED9225-C7B3-46F8-98AA-BB271928A2F1}" srcOrd="1" destOrd="0" presId="urn:microsoft.com/office/officeart/2005/8/layout/gear1"/>
    <dgm:cxn modelId="{F6B83188-0BD6-48BD-91BC-9A9A6D66A499}" type="presOf" srcId="{001A9629-221D-46A6-9EA0-68D39A66B58C}" destId="{CE39AF76-D4F1-46D4-B5E5-1B42E6F7D0B4}" srcOrd="0" destOrd="0" presId="urn:microsoft.com/office/officeart/2005/8/layout/gear1"/>
    <dgm:cxn modelId="{A96D57C7-6201-487E-AA47-E5AED61BDF0B}" type="presOf" srcId="{88BBBD00-8D42-4493-AB41-EA877D46D28F}" destId="{1E86111C-581E-42B2-898E-6B60A8C5CF17}" srcOrd="0" destOrd="0" presId="urn:microsoft.com/office/officeart/2005/8/layout/gear1"/>
    <dgm:cxn modelId="{1B710DC0-0DDB-433C-B3B5-1D9D1E214971}" type="presOf" srcId="{4E1CC130-BD7A-4424-8334-3FD768CD6EC8}" destId="{CA6447C4-C424-409A-87D6-9586F8B55DD7}" srcOrd="2" destOrd="0" presId="urn:microsoft.com/office/officeart/2005/8/layout/gear1"/>
    <dgm:cxn modelId="{9D82E22C-37A3-408E-8293-898AA49BD1FB}" srcId="{856BE2F9-2897-4D76-AA9E-5CFC8123EE74}" destId="{4E1CC130-BD7A-4424-8334-3FD768CD6EC8}" srcOrd="1" destOrd="0" parTransId="{3816D3BB-57DD-4303-9671-F6BFB9E37CE6}" sibTransId="{C2B18B18-CBD1-412E-866A-22BC4385E69D}"/>
    <dgm:cxn modelId="{E6C5A5CD-9481-41A5-9EC1-D0214A4B0A7B}" srcId="{856BE2F9-2897-4D76-AA9E-5CFC8123EE74}" destId="{001A9629-221D-46A6-9EA0-68D39A66B58C}" srcOrd="2" destOrd="0" parTransId="{FBB929DC-D8C2-49E7-8A38-A47DAC92F5B0}" sibTransId="{4FD3FA0C-5D49-4BD7-AE4A-B98DFC7F3584}"/>
    <dgm:cxn modelId="{7017A454-E920-40FF-86A3-998AB497D802}" type="presOf" srcId="{67C0AF56-CB9D-471A-9999-79AB98293A00}" destId="{DC760E63-017D-4701-914D-D4BE7A42EBE2}" srcOrd="2" destOrd="0" presId="urn:microsoft.com/office/officeart/2005/8/layout/gear1"/>
    <dgm:cxn modelId="{4A60E98E-4C62-4DF5-92B7-087EB0FF28E0}" type="presOf" srcId="{001A9629-221D-46A6-9EA0-68D39A66B58C}" destId="{99F12885-18C3-49F5-B64C-5B7301FA93AF}" srcOrd="1" destOrd="0" presId="urn:microsoft.com/office/officeart/2005/8/layout/gear1"/>
    <dgm:cxn modelId="{C6D96F95-B800-42B5-9DDF-28EC334E49D7}" type="presOf" srcId="{67C0AF56-CB9D-471A-9999-79AB98293A00}" destId="{22B99280-885E-4EDD-A9FB-1473A43BC7D2}" srcOrd="0" destOrd="0" presId="urn:microsoft.com/office/officeart/2005/8/layout/gear1"/>
    <dgm:cxn modelId="{319D7E2D-3127-45EB-86B4-E8AADCDB8861}" type="presOf" srcId="{001A9629-221D-46A6-9EA0-68D39A66B58C}" destId="{A3F5A075-CB6B-4620-91DB-5F093C2A1F99}" srcOrd="3" destOrd="0" presId="urn:microsoft.com/office/officeart/2005/8/layout/gear1"/>
    <dgm:cxn modelId="{FA203C2C-AD9D-4A3E-9ADD-F685E12A0455}" type="presOf" srcId="{001A9629-221D-46A6-9EA0-68D39A66B58C}" destId="{712CD5B8-CE70-4DB1-8FB0-7D7923F06366}" srcOrd="2" destOrd="0" presId="urn:microsoft.com/office/officeart/2005/8/layout/gear1"/>
    <dgm:cxn modelId="{870B8488-499F-413A-97C8-E5D2EAF558DE}" srcId="{856BE2F9-2897-4D76-AA9E-5CFC8123EE74}" destId="{67C0AF56-CB9D-471A-9999-79AB98293A00}" srcOrd="0" destOrd="0" parTransId="{53FF43BB-C0E2-41C0-BD24-C53CA10B18B8}" sibTransId="{88BBBD00-8D42-4493-AB41-EA877D46D28F}"/>
    <dgm:cxn modelId="{FB5FC4A5-5510-422F-82DC-E55413C8353A}" type="presParOf" srcId="{7BCE363D-E036-41B6-B6BC-FFE1BC13F786}" destId="{22B99280-885E-4EDD-A9FB-1473A43BC7D2}" srcOrd="0" destOrd="0" presId="urn:microsoft.com/office/officeart/2005/8/layout/gear1"/>
    <dgm:cxn modelId="{21994AA3-11DF-4E08-AC7B-953C0433A43C}" type="presParOf" srcId="{7BCE363D-E036-41B6-B6BC-FFE1BC13F786}" destId="{4BED9225-C7B3-46F8-98AA-BB271928A2F1}" srcOrd="1" destOrd="0" presId="urn:microsoft.com/office/officeart/2005/8/layout/gear1"/>
    <dgm:cxn modelId="{6913EE56-C8DC-4F3C-B577-BE42AEF065BE}" type="presParOf" srcId="{7BCE363D-E036-41B6-B6BC-FFE1BC13F786}" destId="{DC760E63-017D-4701-914D-D4BE7A42EBE2}" srcOrd="2" destOrd="0" presId="urn:microsoft.com/office/officeart/2005/8/layout/gear1"/>
    <dgm:cxn modelId="{192AD4E6-040C-45B8-BF44-893FFBA4124E}" type="presParOf" srcId="{7BCE363D-E036-41B6-B6BC-FFE1BC13F786}" destId="{DCAD6917-8091-4F0A-90EE-6F6159820845}" srcOrd="3" destOrd="0" presId="urn:microsoft.com/office/officeart/2005/8/layout/gear1"/>
    <dgm:cxn modelId="{0DF843E5-95C7-42FE-A9C9-0567F1799E1C}" type="presParOf" srcId="{7BCE363D-E036-41B6-B6BC-FFE1BC13F786}" destId="{88344C8E-45FE-456E-B285-695589CE5FD3}" srcOrd="4" destOrd="0" presId="urn:microsoft.com/office/officeart/2005/8/layout/gear1"/>
    <dgm:cxn modelId="{A843DBE5-CE09-485D-9DEE-655B77644E63}" type="presParOf" srcId="{7BCE363D-E036-41B6-B6BC-FFE1BC13F786}" destId="{CA6447C4-C424-409A-87D6-9586F8B55DD7}" srcOrd="5" destOrd="0" presId="urn:microsoft.com/office/officeart/2005/8/layout/gear1"/>
    <dgm:cxn modelId="{383C90A4-A9F2-4185-87ED-7013AFAFA11A}" type="presParOf" srcId="{7BCE363D-E036-41B6-B6BC-FFE1BC13F786}" destId="{CE39AF76-D4F1-46D4-B5E5-1B42E6F7D0B4}" srcOrd="6" destOrd="0" presId="urn:microsoft.com/office/officeart/2005/8/layout/gear1"/>
    <dgm:cxn modelId="{F36113BB-8BA9-4B94-A846-4E2DBACB3740}" type="presParOf" srcId="{7BCE363D-E036-41B6-B6BC-FFE1BC13F786}" destId="{99F12885-18C3-49F5-B64C-5B7301FA93AF}" srcOrd="7" destOrd="0" presId="urn:microsoft.com/office/officeart/2005/8/layout/gear1"/>
    <dgm:cxn modelId="{8B7237D8-C265-4CBA-B0DB-CF7F365783F2}" type="presParOf" srcId="{7BCE363D-E036-41B6-B6BC-FFE1BC13F786}" destId="{712CD5B8-CE70-4DB1-8FB0-7D7923F06366}" srcOrd="8" destOrd="0" presId="urn:microsoft.com/office/officeart/2005/8/layout/gear1"/>
    <dgm:cxn modelId="{1704EA66-5F91-46EE-9322-EBAABD93DDED}" type="presParOf" srcId="{7BCE363D-E036-41B6-B6BC-FFE1BC13F786}" destId="{A3F5A075-CB6B-4620-91DB-5F093C2A1F99}" srcOrd="9" destOrd="0" presId="urn:microsoft.com/office/officeart/2005/8/layout/gear1"/>
    <dgm:cxn modelId="{9EE107F4-172E-4850-ABF6-11DA06D701DA}" type="presParOf" srcId="{7BCE363D-E036-41B6-B6BC-FFE1BC13F786}" destId="{1E86111C-581E-42B2-898E-6B60A8C5CF17}" srcOrd="10" destOrd="0" presId="urn:microsoft.com/office/officeart/2005/8/layout/gear1"/>
    <dgm:cxn modelId="{F4368FA0-869B-4695-B521-66DC30D9463C}" type="presParOf" srcId="{7BCE363D-E036-41B6-B6BC-FFE1BC13F786}" destId="{5021DC7A-985C-4C58-8FEC-EB49EC1C8608}" srcOrd="11" destOrd="0" presId="urn:microsoft.com/office/officeart/2005/8/layout/gear1"/>
    <dgm:cxn modelId="{E0F17D2C-2158-4610-8A28-72C10EAB93FA}" type="presParOf" srcId="{7BCE363D-E036-41B6-B6BC-FFE1BC13F786}" destId="{6C29AF13-FAC7-4942-BB5C-DEDF0096872E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369B0B1-230E-429C-A892-17E857D0C412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6850E23E-1BEF-42DD-9165-DE0AB06A9C2D}">
      <dgm:prSet phldrT="[Text]"/>
      <dgm:spPr/>
      <dgm:t>
        <a:bodyPr/>
        <a:lstStyle/>
        <a:p>
          <a:r>
            <a:rPr lang="en-US" dirty="0" smtClean="0"/>
            <a:t>Record events &amp; tag beneficiaries in PFMS HM</a:t>
          </a:r>
          <a:endParaRPr lang="en-US" dirty="0"/>
        </a:p>
      </dgm:t>
    </dgm:pt>
    <dgm:pt modelId="{C098AEE9-FA50-486F-A4A3-B4047E4EAC01}" type="parTrans" cxnId="{E3535DF1-FEF4-47D1-AD1D-A011E455A4EB}">
      <dgm:prSet/>
      <dgm:spPr/>
      <dgm:t>
        <a:bodyPr/>
        <a:lstStyle/>
        <a:p>
          <a:endParaRPr lang="en-US"/>
        </a:p>
      </dgm:t>
    </dgm:pt>
    <dgm:pt modelId="{F44118C7-9F6B-49C0-B72F-4AFBFBC986CE}" type="sibTrans" cxnId="{E3535DF1-FEF4-47D1-AD1D-A011E455A4EB}">
      <dgm:prSet/>
      <dgm:spPr/>
      <dgm:t>
        <a:bodyPr/>
        <a:lstStyle/>
        <a:p>
          <a:endParaRPr lang="en-US"/>
        </a:p>
      </dgm:t>
    </dgm:pt>
    <dgm:pt modelId="{840BA69F-B3A8-4F79-9B82-52DBB7E8E83F}">
      <dgm:prSet phldrT="[Text]"/>
      <dgm:spPr/>
      <dgm:t>
        <a:bodyPr/>
        <a:lstStyle/>
        <a:p>
          <a:r>
            <a:rPr lang="en-US" dirty="0" smtClean="0"/>
            <a:t>Review &amp; approve the event records for payment </a:t>
          </a:r>
          <a:endParaRPr lang="en-US" dirty="0"/>
        </a:p>
      </dgm:t>
    </dgm:pt>
    <dgm:pt modelId="{9BBAB1CF-1EB3-480C-A2A0-01CAF408DDA9}" type="parTrans" cxnId="{2FF63C04-7684-4965-89CB-B1AD4C846B07}">
      <dgm:prSet/>
      <dgm:spPr/>
      <dgm:t>
        <a:bodyPr/>
        <a:lstStyle/>
        <a:p>
          <a:endParaRPr lang="en-US"/>
        </a:p>
      </dgm:t>
    </dgm:pt>
    <dgm:pt modelId="{786CCB8E-7B42-4596-9D7C-6F38878961E2}" type="sibTrans" cxnId="{2FF63C04-7684-4965-89CB-B1AD4C846B07}">
      <dgm:prSet/>
      <dgm:spPr/>
      <dgm:t>
        <a:bodyPr/>
        <a:lstStyle/>
        <a:p>
          <a:endParaRPr lang="en-US"/>
        </a:p>
      </dgm:t>
    </dgm:pt>
    <dgm:pt modelId="{286082E7-49EE-4F75-BA27-1B408D13A8FB}">
      <dgm:prSet phldrT="[Text]"/>
      <dgm:spPr/>
      <dgm:t>
        <a:bodyPr/>
        <a:lstStyle/>
        <a:p>
          <a:r>
            <a:rPr lang="en-US" dirty="0" smtClean="0"/>
            <a:t>Generate reports and track progress based on collected metrics</a:t>
          </a:r>
          <a:endParaRPr lang="en-US" dirty="0"/>
        </a:p>
      </dgm:t>
    </dgm:pt>
    <dgm:pt modelId="{230B9D04-3C36-4AC2-9C88-5E2A21FC18E4}" type="parTrans" cxnId="{0CE183ED-E822-4E8F-A292-759D005E7CDF}">
      <dgm:prSet/>
      <dgm:spPr/>
      <dgm:t>
        <a:bodyPr/>
        <a:lstStyle/>
        <a:p>
          <a:endParaRPr lang="en-US"/>
        </a:p>
      </dgm:t>
    </dgm:pt>
    <dgm:pt modelId="{3B9E159C-8542-491E-8BDF-B82F043CD337}" type="sibTrans" cxnId="{0CE183ED-E822-4E8F-A292-759D005E7CDF}">
      <dgm:prSet/>
      <dgm:spPr/>
      <dgm:t>
        <a:bodyPr/>
        <a:lstStyle/>
        <a:p>
          <a:endParaRPr lang="en-US"/>
        </a:p>
      </dgm:t>
    </dgm:pt>
    <dgm:pt modelId="{306BF3D0-0B49-45A8-96D5-79D662766095}" type="pres">
      <dgm:prSet presAssocID="{8369B0B1-230E-429C-A892-17E857D0C412}" presName="Name0" presStyleCnt="0">
        <dgm:presLayoutVars>
          <dgm:dir/>
          <dgm:resizeHandles val="exact"/>
        </dgm:presLayoutVars>
      </dgm:prSet>
      <dgm:spPr/>
    </dgm:pt>
    <dgm:pt modelId="{17F44DC5-ED42-4635-8D06-6F3F9B461A5E}" type="pres">
      <dgm:prSet presAssocID="{6850E23E-1BEF-42DD-9165-DE0AB06A9C2D}" presName="composite" presStyleCnt="0"/>
      <dgm:spPr/>
    </dgm:pt>
    <dgm:pt modelId="{898FBA85-FE67-4B49-B696-D060E472ABCB}" type="pres">
      <dgm:prSet presAssocID="{6850E23E-1BEF-42DD-9165-DE0AB06A9C2D}" presName="bgChev" presStyleLbl="node1" presStyleIdx="0" presStyleCnt="3"/>
      <dgm:spPr/>
    </dgm:pt>
    <dgm:pt modelId="{0B0D9BD3-83DF-4E91-A649-78757D36360B}" type="pres">
      <dgm:prSet presAssocID="{6850E23E-1BEF-42DD-9165-DE0AB06A9C2D}" presName="txNode" presStyleLbl="fgAcc1" presStyleIdx="0" presStyleCnt="3" custLinFactNeighborX="-693" custLinFactNeighborY="-30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304936-3B3E-464D-8914-AC8510F7F866}" type="pres">
      <dgm:prSet presAssocID="{F44118C7-9F6B-49C0-B72F-4AFBFBC986CE}" presName="compositeSpace" presStyleCnt="0"/>
      <dgm:spPr/>
    </dgm:pt>
    <dgm:pt modelId="{F754E058-59BD-41D7-8710-28AB867DECAE}" type="pres">
      <dgm:prSet presAssocID="{840BA69F-B3A8-4F79-9B82-52DBB7E8E83F}" presName="composite" presStyleCnt="0"/>
      <dgm:spPr/>
    </dgm:pt>
    <dgm:pt modelId="{72608785-8B1E-444B-ADD1-35B3CB735DD3}" type="pres">
      <dgm:prSet presAssocID="{840BA69F-B3A8-4F79-9B82-52DBB7E8E83F}" presName="bgChev" presStyleLbl="node1" presStyleIdx="1" presStyleCnt="3"/>
      <dgm:spPr/>
    </dgm:pt>
    <dgm:pt modelId="{7C08E75F-8239-4756-A3A8-8E13DBCC91DF}" type="pres">
      <dgm:prSet presAssocID="{840BA69F-B3A8-4F79-9B82-52DBB7E8E83F}" presName="txNode" presStyleLbl="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126372-53DD-4A0B-A1D3-30E83C7427CF}" type="pres">
      <dgm:prSet presAssocID="{786CCB8E-7B42-4596-9D7C-6F38878961E2}" presName="compositeSpace" presStyleCnt="0"/>
      <dgm:spPr/>
    </dgm:pt>
    <dgm:pt modelId="{C62B99AA-BD9F-4C0A-866F-86D1EA264797}" type="pres">
      <dgm:prSet presAssocID="{286082E7-49EE-4F75-BA27-1B408D13A8FB}" presName="composite" presStyleCnt="0"/>
      <dgm:spPr/>
    </dgm:pt>
    <dgm:pt modelId="{3596CDC0-1FC8-46D9-8E88-9BC4A945014A}" type="pres">
      <dgm:prSet presAssocID="{286082E7-49EE-4F75-BA27-1B408D13A8FB}" presName="bgChev" presStyleLbl="node1" presStyleIdx="2" presStyleCnt="3"/>
      <dgm:spPr/>
    </dgm:pt>
    <dgm:pt modelId="{5A82C576-8DDB-4B3D-8197-DC924332E9AF}" type="pres">
      <dgm:prSet presAssocID="{286082E7-49EE-4F75-BA27-1B408D13A8FB}" presName="txNode" presStyleLbl="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CE183ED-E822-4E8F-A292-759D005E7CDF}" srcId="{8369B0B1-230E-429C-A892-17E857D0C412}" destId="{286082E7-49EE-4F75-BA27-1B408D13A8FB}" srcOrd="2" destOrd="0" parTransId="{230B9D04-3C36-4AC2-9C88-5E2A21FC18E4}" sibTransId="{3B9E159C-8542-491E-8BDF-B82F043CD337}"/>
    <dgm:cxn modelId="{B79D8805-7FC4-40D8-8016-0C228CAADB0B}" type="presOf" srcId="{840BA69F-B3A8-4F79-9B82-52DBB7E8E83F}" destId="{7C08E75F-8239-4756-A3A8-8E13DBCC91DF}" srcOrd="0" destOrd="0" presId="urn:microsoft.com/office/officeart/2005/8/layout/chevronAccent+Icon"/>
    <dgm:cxn modelId="{E289A86C-ABEE-4869-9C90-FFC9D9D3DD1F}" type="presOf" srcId="{6850E23E-1BEF-42DD-9165-DE0AB06A9C2D}" destId="{0B0D9BD3-83DF-4E91-A649-78757D36360B}" srcOrd="0" destOrd="0" presId="urn:microsoft.com/office/officeart/2005/8/layout/chevronAccent+Icon"/>
    <dgm:cxn modelId="{2FF63C04-7684-4965-89CB-B1AD4C846B07}" srcId="{8369B0B1-230E-429C-A892-17E857D0C412}" destId="{840BA69F-B3A8-4F79-9B82-52DBB7E8E83F}" srcOrd="1" destOrd="0" parTransId="{9BBAB1CF-1EB3-480C-A2A0-01CAF408DDA9}" sibTransId="{786CCB8E-7B42-4596-9D7C-6F38878961E2}"/>
    <dgm:cxn modelId="{A11DFB68-EB32-4817-9739-13AB78FF289C}" type="presOf" srcId="{8369B0B1-230E-429C-A892-17E857D0C412}" destId="{306BF3D0-0B49-45A8-96D5-79D662766095}" srcOrd="0" destOrd="0" presId="urn:microsoft.com/office/officeart/2005/8/layout/chevronAccent+Icon"/>
    <dgm:cxn modelId="{2054C903-C310-4EF2-9B6B-E10C892BB0A7}" type="presOf" srcId="{286082E7-49EE-4F75-BA27-1B408D13A8FB}" destId="{5A82C576-8DDB-4B3D-8197-DC924332E9AF}" srcOrd="0" destOrd="0" presId="urn:microsoft.com/office/officeart/2005/8/layout/chevronAccent+Icon"/>
    <dgm:cxn modelId="{E3535DF1-FEF4-47D1-AD1D-A011E455A4EB}" srcId="{8369B0B1-230E-429C-A892-17E857D0C412}" destId="{6850E23E-1BEF-42DD-9165-DE0AB06A9C2D}" srcOrd="0" destOrd="0" parTransId="{C098AEE9-FA50-486F-A4A3-B4047E4EAC01}" sibTransId="{F44118C7-9F6B-49C0-B72F-4AFBFBC986CE}"/>
    <dgm:cxn modelId="{39A1FB79-6734-42C5-8430-81C348D7CE6A}" type="presParOf" srcId="{306BF3D0-0B49-45A8-96D5-79D662766095}" destId="{17F44DC5-ED42-4635-8D06-6F3F9B461A5E}" srcOrd="0" destOrd="0" presId="urn:microsoft.com/office/officeart/2005/8/layout/chevronAccent+Icon"/>
    <dgm:cxn modelId="{403B2EE5-E5C1-415A-B7F5-0DBA4BF40927}" type="presParOf" srcId="{17F44DC5-ED42-4635-8D06-6F3F9B461A5E}" destId="{898FBA85-FE67-4B49-B696-D060E472ABCB}" srcOrd="0" destOrd="0" presId="urn:microsoft.com/office/officeart/2005/8/layout/chevronAccent+Icon"/>
    <dgm:cxn modelId="{77DA96E8-8D34-4387-A282-2565A7293A95}" type="presParOf" srcId="{17F44DC5-ED42-4635-8D06-6F3F9B461A5E}" destId="{0B0D9BD3-83DF-4E91-A649-78757D36360B}" srcOrd="1" destOrd="0" presId="urn:microsoft.com/office/officeart/2005/8/layout/chevronAccent+Icon"/>
    <dgm:cxn modelId="{6503AA35-4E06-4066-9020-E71C83FF1575}" type="presParOf" srcId="{306BF3D0-0B49-45A8-96D5-79D662766095}" destId="{84304936-3B3E-464D-8914-AC8510F7F866}" srcOrd="1" destOrd="0" presId="urn:microsoft.com/office/officeart/2005/8/layout/chevronAccent+Icon"/>
    <dgm:cxn modelId="{288EECBC-3301-4609-ADC7-0BB685FA9712}" type="presParOf" srcId="{306BF3D0-0B49-45A8-96D5-79D662766095}" destId="{F754E058-59BD-41D7-8710-28AB867DECAE}" srcOrd="2" destOrd="0" presId="urn:microsoft.com/office/officeart/2005/8/layout/chevronAccent+Icon"/>
    <dgm:cxn modelId="{C1718680-6A77-46FA-BB85-B4E72AA2262F}" type="presParOf" srcId="{F754E058-59BD-41D7-8710-28AB867DECAE}" destId="{72608785-8B1E-444B-ADD1-35B3CB735DD3}" srcOrd="0" destOrd="0" presId="urn:microsoft.com/office/officeart/2005/8/layout/chevronAccent+Icon"/>
    <dgm:cxn modelId="{65F8D78A-502A-4CCC-894C-F5816744B6B9}" type="presParOf" srcId="{F754E058-59BD-41D7-8710-28AB867DECAE}" destId="{7C08E75F-8239-4756-A3A8-8E13DBCC91DF}" srcOrd="1" destOrd="0" presId="urn:microsoft.com/office/officeart/2005/8/layout/chevronAccent+Icon"/>
    <dgm:cxn modelId="{1E7248FC-C906-4414-829E-64E6D8BBE202}" type="presParOf" srcId="{306BF3D0-0B49-45A8-96D5-79D662766095}" destId="{00126372-53DD-4A0B-A1D3-30E83C7427CF}" srcOrd="3" destOrd="0" presId="urn:microsoft.com/office/officeart/2005/8/layout/chevronAccent+Icon"/>
    <dgm:cxn modelId="{F2082D3C-824E-4CE6-B8B7-480E08177651}" type="presParOf" srcId="{306BF3D0-0B49-45A8-96D5-79D662766095}" destId="{C62B99AA-BD9F-4C0A-866F-86D1EA264797}" srcOrd="4" destOrd="0" presId="urn:microsoft.com/office/officeart/2005/8/layout/chevronAccent+Icon"/>
    <dgm:cxn modelId="{AF60BA53-02EE-47A4-B367-72603D9CFFB6}" type="presParOf" srcId="{C62B99AA-BD9F-4C0A-866F-86D1EA264797}" destId="{3596CDC0-1FC8-46D9-8E88-9BC4A945014A}" srcOrd="0" destOrd="0" presId="urn:microsoft.com/office/officeart/2005/8/layout/chevronAccent+Icon"/>
    <dgm:cxn modelId="{A4B4DDFE-3C70-41E7-AB74-962EBC1B6445}" type="presParOf" srcId="{C62B99AA-BD9F-4C0A-866F-86D1EA264797}" destId="{5A82C576-8DDB-4B3D-8197-DC924332E9AF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88A9A5B-F76E-49B3-A4B8-1B161857802C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D306D7-687F-42CC-BD7D-1603A804B071}">
      <dgm:prSet phldrT="[Text]"/>
      <dgm:spPr/>
      <dgm:t>
        <a:bodyPr/>
        <a:lstStyle/>
        <a:p>
          <a:r>
            <a:rPr lang="en-US" dirty="0" smtClean="0"/>
            <a:t>Data Entry</a:t>
          </a:r>
          <a:endParaRPr lang="en-US" dirty="0"/>
        </a:p>
      </dgm:t>
    </dgm:pt>
    <dgm:pt modelId="{2402E2D4-AA6E-4D8F-B7F8-490EF09B6B1F}" type="parTrans" cxnId="{6CD5C855-F6AD-43BA-A40D-C0D7C4442782}">
      <dgm:prSet/>
      <dgm:spPr/>
      <dgm:t>
        <a:bodyPr/>
        <a:lstStyle/>
        <a:p>
          <a:endParaRPr lang="en-US"/>
        </a:p>
      </dgm:t>
    </dgm:pt>
    <dgm:pt modelId="{AC6FBCEA-D8C2-48AF-A0B7-A98ADEE3A597}" type="sibTrans" cxnId="{6CD5C855-F6AD-43BA-A40D-C0D7C4442782}">
      <dgm:prSet/>
      <dgm:spPr/>
      <dgm:t>
        <a:bodyPr/>
        <a:lstStyle/>
        <a:p>
          <a:endParaRPr lang="en-US"/>
        </a:p>
      </dgm:t>
    </dgm:pt>
    <dgm:pt modelId="{32FFD4C8-3944-4157-AD43-9F31AA0DA794}">
      <dgm:prSet phldrT="[Text]"/>
      <dgm:spPr/>
      <dgm:t>
        <a:bodyPr/>
        <a:lstStyle/>
        <a:p>
          <a:r>
            <a:rPr lang="en-US" dirty="0" smtClean="0"/>
            <a:t>Record events, beneficiaries and submits data</a:t>
          </a:r>
          <a:endParaRPr lang="en-US" dirty="0"/>
        </a:p>
      </dgm:t>
    </dgm:pt>
    <dgm:pt modelId="{81E757D8-9D06-4989-BF28-52576379B5D6}" type="parTrans" cxnId="{C576F256-9431-4223-A28E-7B5EB500B5D5}">
      <dgm:prSet/>
      <dgm:spPr/>
      <dgm:t>
        <a:bodyPr/>
        <a:lstStyle/>
        <a:p>
          <a:endParaRPr lang="en-US"/>
        </a:p>
      </dgm:t>
    </dgm:pt>
    <dgm:pt modelId="{7B611AF2-1ABD-43D8-8E78-15DB9BB975DB}" type="sibTrans" cxnId="{C576F256-9431-4223-A28E-7B5EB500B5D5}">
      <dgm:prSet/>
      <dgm:spPr/>
      <dgm:t>
        <a:bodyPr/>
        <a:lstStyle/>
        <a:p>
          <a:endParaRPr lang="en-US"/>
        </a:p>
      </dgm:t>
    </dgm:pt>
    <dgm:pt modelId="{05FF7297-820B-4D52-897E-1BD0EF499612}">
      <dgm:prSet phldrT="[Text]"/>
      <dgm:spPr/>
      <dgm:t>
        <a:bodyPr/>
        <a:lstStyle/>
        <a:p>
          <a:r>
            <a:rPr lang="en-US" dirty="0" smtClean="0"/>
            <a:t>Approval</a:t>
          </a:r>
          <a:endParaRPr lang="en-US" dirty="0"/>
        </a:p>
      </dgm:t>
    </dgm:pt>
    <dgm:pt modelId="{A404ECCA-AA57-4875-9DFB-FA1F47DEB3E4}" type="parTrans" cxnId="{F0FDA1C5-C6DB-453B-8E12-936C9EF38C31}">
      <dgm:prSet/>
      <dgm:spPr/>
      <dgm:t>
        <a:bodyPr/>
        <a:lstStyle/>
        <a:p>
          <a:endParaRPr lang="en-US"/>
        </a:p>
      </dgm:t>
    </dgm:pt>
    <dgm:pt modelId="{6B4B38EE-D68E-4EA3-8137-F947A7FD0C0F}" type="sibTrans" cxnId="{F0FDA1C5-C6DB-453B-8E12-936C9EF38C31}">
      <dgm:prSet/>
      <dgm:spPr/>
      <dgm:t>
        <a:bodyPr/>
        <a:lstStyle/>
        <a:p>
          <a:endParaRPr lang="en-US"/>
        </a:p>
      </dgm:t>
    </dgm:pt>
    <dgm:pt modelId="{0BACB25B-F781-4FC1-8BE1-06B70994A8E0}">
      <dgm:prSet phldrT="[Text]"/>
      <dgm:spPr/>
      <dgm:t>
        <a:bodyPr/>
        <a:lstStyle/>
        <a:p>
          <a:r>
            <a:rPr lang="en-US" dirty="0" smtClean="0"/>
            <a:t>Bulk approval</a:t>
          </a:r>
          <a:endParaRPr lang="en-US" dirty="0"/>
        </a:p>
      </dgm:t>
    </dgm:pt>
    <dgm:pt modelId="{D49D1584-57C0-4A5F-8827-3E1EFD5A5F1C}" type="parTrans" cxnId="{8D227BFF-72A0-4DA6-B65A-CCA3D5C943A0}">
      <dgm:prSet/>
      <dgm:spPr/>
      <dgm:t>
        <a:bodyPr/>
        <a:lstStyle/>
        <a:p>
          <a:endParaRPr lang="en-US"/>
        </a:p>
      </dgm:t>
    </dgm:pt>
    <dgm:pt modelId="{338D9AB8-3761-4AC0-8E79-9B6A1CAE8B54}" type="sibTrans" cxnId="{8D227BFF-72A0-4DA6-B65A-CCA3D5C943A0}">
      <dgm:prSet/>
      <dgm:spPr/>
      <dgm:t>
        <a:bodyPr/>
        <a:lstStyle/>
        <a:p>
          <a:endParaRPr lang="en-US"/>
        </a:p>
      </dgm:t>
    </dgm:pt>
    <dgm:pt modelId="{C865895A-6587-4D14-B470-9A644171D6BD}">
      <dgm:prSet phldrT="[Text]"/>
      <dgm:spPr/>
      <dgm:t>
        <a:bodyPr/>
        <a:lstStyle/>
        <a:p>
          <a:r>
            <a:rPr lang="en-US" dirty="0" smtClean="0"/>
            <a:t>Management</a:t>
          </a:r>
          <a:endParaRPr lang="en-US" dirty="0"/>
        </a:p>
      </dgm:t>
    </dgm:pt>
    <dgm:pt modelId="{F8946E1B-091B-485B-BDA2-6EAB0AC56004}" type="parTrans" cxnId="{233C8E15-5575-4643-8F0F-8C9DD5FD3DCF}">
      <dgm:prSet/>
      <dgm:spPr/>
      <dgm:t>
        <a:bodyPr/>
        <a:lstStyle/>
        <a:p>
          <a:endParaRPr lang="en-US"/>
        </a:p>
      </dgm:t>
    </dgm:pt>
    <dgm:pt modelId="{A60BF581-9DE6-447C-AF1D-5CD8369F4344}" type="sibTrans" cxnId="{233C8E15-5575-4643-8F0F-8C9DD5FD3DCF}">
      <dgm:prSet/>
      <dgm:spPr/>
      <dgm:t>
        <a:bodyPr/>
        <a:lstStyle/>
        <a:p>
          <a:endParaRPr lang="en-US"/>
        </a:p>
      </dgm:t>
    </dgm:pt>
    <dgm:pt modelId="{4DBF7CDC-819B-47C3-9BB1-D31388194ADD}">
      <dgm:prSet phldrT="[Text]"/>
      <dgm:spPr/>
      <dgm:t>
        <a:bodyPr/>
        <a:lstStyle/>
        <a:p>
          <a:r>
            <a:rPr lang="en-US" dirty="0" smtClean="0"/>
            <a:t>Reports</a:t>
          </a:r>
          <a:endParaRPr lang="en-US" dirty="0"/>
        </a:p>
      </dgm:t>
    </dgm:pt>
    <dgm:pt modelId="{AEDC20AE-816C-44E6-ACA0-E5CA79804B28}" type="parTrans" cxnId="{A4A7EB6B-41A0-46A6-8BC3-C56A8273B144}">
      <dgm:prSet/>
      <dgm:spPr/>
      <dgm:t>
        <a:bodyPr/>
        <a:lstStyle/>
        <a:p>
          <a:endParaRPr lang="en-US"/>
        </a:p>
      </dgm:t>
    </dgm:pt>
    <dgm:pt modelId="{3E6BE079-59B4-411B-B9DA-F03BFD542DAD}" type="sibTrans" cxnId="{A4A7EB6B-41A0-46A6-8BC3-C56A8273B144}">
      <dgm:prSet/>
      <dgm:spPr/>
      <dgm:t>
        <a:bodyPr/>
        <a:lstStyle/>
        <a:p>
          <a:endParaRPr lang="en-US"/>
        </a:p>
      </dgm:t>
    </dgm:pt>
    <dgm:pt modelId="{D9726063-0D50-407F-9CDD-279D293F15CA}">
      <dgm:prSet phldrT="[Text]"/>
      <dgm:spPr/>
      <dgm:t>
        <a:bodyPr/>
        <a:lstStyle/>
        <a:p>
          <a:r>
            <a:rPr lang="en-US" dirty="0" smtClean="0"/>
            <a:t>Detailed record verification</a:t>
          </a:r>
          <a:endParaRPr lang="en-US" dirty="0"/>
        </a:p>
      </dgm:t>
    </dgm:pt>
    <dgm:pt modelId="{254F27BE-FDD5-457B-AD81-C43DE2AB8F88}" type="parTrans" cxnId="{5145185F-29BE-4AE3-9E38-BC10A438E6D3}">
      <dgm:prSet/>
      <dgm:spPr/>
      <dgm:t>
        <a:bodyPr/>
        <a:lstStyle/>
        <a:p>
          <a:endParaRPr lang="en-US"/>
        </a:p>
      </dgm:t>
    </dgm:pt>
    <dgm:pt modelId="{F83D1FAD-3FDA-4510-9EED-1CF62AD57670}" type="sibTrans" cxnId="{5145185F-29BE-4AE3-9E38-BC10A438E6D3}">
      <dgm:prSet/>
      <dgm:spPr/>
      <dgm:t>
        <a:bodyPr/>
        <a:lstStyle/>
        <a:p>
          <a:endParaRPr lang="en-US"/>
        </a:p>
      </dgm:t>
    </dgm:pt>
    <dgm:pt modelId="{D0691DB4-7EC0-4631-9EC1-A6D17A83DA45}">
      <dgm:prSet phldrT="[Text]"/>
      <dgm:spPr/>
      <dgm:t>
        <a:bodyPr/>
        <a:lstStyle/>
        <a:p>
          <a:r>
            <a:rPr lang="en-US" dirty="0" smtClean="0"/>
            <a:t>Dashboard</a:t>
          </a:r>
          <a:endParaRPr lang="en-US" dirty="0"/>
        </a:p>
      </dgm:t>
    </dgm:pt>
    <dgm:pt modelId="{10B3A822-2F7A-4016-8060-87FA5D6B00CB}" type="parTrans" cxnId="{EDB28C8D-60E1-45F6-8ED1-DADE8AD622B8}">
      <dgm:prSet/>
      <dgm:spPr/>
      <dgm:t>
        <a:bodyPr/>
        <a:lstStyle/>
        <a:p>
          <a:endParaRPr lang="en-US"/>
        </a:p>
      </dgm:t>
    </dgm:pt>
    <dgm:pt modelId="{EA26E4DE-B686-4E97-AB9C-3CD3C10C18EA}" type="sibTrans" cxnId="{EDB28C8D-60E1-45F6-8ED1-DADE8AD622B8}">
      <dgm:prSet/>
      <dgm:spPr/>
      <dgm:t>
        <a:bodyPr/>
        <a:lstStyle/>
        <a:p>
          <a:endParaRPr lang="en-US"/>
        </a:p>
      </dgm:t>
    </dgm:pt>
    <dgm:pt modelId="{60FA07D9-DD70-4C42-8CBF-D116039D081F}">
      <dgm:prSet phldrT="[Text]"/>
      <dgm:spPr/>
      <dgm:t>
        <a:bodyPr/>
        <a:lstStyle/>
        <a:p>
          <a:r>
            <a:rPr lang="en-US" dirty="0" smtClean="0"/>
            <a:t>Payment Rejection</a:t>
          </a:r>
          <a:endParaRPr lang="en-US" dirty="0"/>
        </a:p>
      </dgm:t>
    </dgm:pt>
    <dgm:pt modelId="{627FFF9E-3C05-4700-B535-D55BB009E383}" type="parTrans" cxnId="{E24EB5A2-3AC6-4252-A303-A9746DF95891}">
      <dgm:prSet/>
      <dgm:spPr/>
      <dgm:t>
        <a:bodyPr/>
        <a:lstStyle/>
        <a:p>
          <a:endParaRPr lang="en-IN"/>
        </a:p>
      </dgm:t>
    </dgm:pt>
    <dgm:pt modelId="{4A62D23D-6356-40F9-A8A2-95ACB1442010}" type="sibTrans" cxnId="{E24EB5A2-3AC6-4252-A303-A9746DF95891}">
      <dgm:prSet/>
      <dgm:spPr/>
      <dgm:t>
        <a:bodyPr/>
        <a:lstStyle/>
        <a:p>
          <a:endParaRPr lang="en-IN"/>
        </a:p>
      </dgm:t>
    </dgm:pt>
    <dgm:pt modelId="{6174125C-70E6-4F7B-8198-DB74916FAB93}">
      <dgm:prSet phldrT="[Text]"/>
      <dgm:spPr/>
      <dgm:t>
        <a:bodyPr/>
        <a:lstStyle/>
        <a:p>
          <a:r>
            <a:rPr lang="en-US" dirty="0" smtClean="0"/>
            <a:t>Analytics</a:t>
          </a:r>
          <a:endParaRPr lang="en-US" dirty="0"/>
        </a:p>
      </dgm:t>
    </dgm:pt>
    <dgm:pt modelId="{CD392B8C-0F90-42BE-A72D-37E81604EB41}" type="parTrans" cxnId="{E82D45C9-3C89-48A5-BB00-4652A328DED0}">
      <dgm:prSet/>
      <dgm:spPr/>
      <dgm:t>
        <a:bodyPr/>
        <a:lstStyle/>
        <a:p>
          <a:endParaRPr lang="en-IN"/>
        </a:p>
      </dgm:t>
    </dgm:pt>
    <dgm:pt modelId="{C9BCC0C6-1600-4580-A0EC-ED8A15E183D8}" type="sibTrans" cxnId="{E82D45C9-3C89-48A5-BB00-4652A328DED0}">
      <dgm:prSet/>
      <dgm:spPr/>
      <dgm:t>
        <a:bodyPr/>
        <a:lstStyle/>
        <a:p>
          <a:endParaRPr lang="en-IN"/>
        </a:p>
      </dgm:t>
    </dgm:pt>
    <dgm:pt modelId="{94F45D27-84F5-46B0-BE91-496EFB081D69}" type="pres">
      <dgm:prSet presAssocID="{288A9A5B-F76E-49B3-A4B8-1B161857802C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F82E31B-E019-48E9-A6F0-2B5CF3D4B912}" type="pres">
      <dgm:prSet presAssocID="{FBD306D7-687F-42CC-BD7D-1603A804B071}" presName="composite" presStyleCnt="0"/>
      <dgm:spPr/>
    </dgm:pt>
    <dgm:pt modelId="{DB0F9659-D7EE-4DCA-9CFC-E77A0E198EB2}" type="pres">
      <dgm:prSet presAssocID="{FBD306D7-687F-42CC-BD7D-1603A804B071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E7E6F1-7B52-474B-B79B-6B4FCEBA7620}" type="pres">
      <dgm:prSet presAssocID="{FBD306D7-687F-42CC-BD7D-1603A804B071}" presName="parSh" presStyleLbl="node1" presStyleIdx="0" presStyleCnt="3"/>
      <dgm:spPr/>
      <dgm:t>
        <a:bodyPr/>
        <a:lstStyle/>
        <a:p>
          <a:endParaRPr lang="en-US"/>
        </a:p>
      </dgm:t>
    </dgm:pt>
    <dgm:pt modelId="{CD51DC90-279B-4E0D-A0C7-5544555F8BE6}" type="pres">
      <dgm:prSet presAssocID="{FBD306D7-687F-42CC-BD7D-1603A804B071}" presName="desTx" presStyleLbl="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1F7C17-12E7-4C1B-AD47-6356E730180E}" type="pres">
      <dgm:prSet presAssocID="{AC6FBCEA-D8C2-48AF-A0B7-A98ADEE3A597}" presName="sibTrans" presStyleLbl="sibTrans2D1" presStyleIdx="0" presStyleCnt="2"/>
      <dgm:spPr/>
      <dgm:t>
        <a:bodyPr/>
        <a:lstStyle/>
        <a:p>
          <a:endParaRPr lang="en-US"/>
        </a:p>
      </dgm:t>
    </dgm:pt>
    <dgm:pt modelId="{57553A3A-D19C-4B2B-8563-3D575FFE2A1B}" type="pres">
      <dgm:prSet presAssocID="{AC6FBCEA-D8C2-48AF-A0B7-A98ADEE3A597}" presName="connTx" presStyleLbl="sibTrans2D1" presStyleIdx="0" presStyleCnt="2"/>
      <dgm:spPr/>
      <dgm:t>
        <a:bodyPr/>
        <a:lstStyle/>
        <a:p>
          <a:endParaRPr lang="en-US"/>
        </a:p>
      </dgm:t>
    </dgm:pt>
    <dgm:pt modelId="{8EBD5CD7-AAE4-485D-9364-CF9C54787F95}" type="pres">
      <dgm:prSet presAssocID="{05FF7297-820B-4D52-897E-1BD0EF499612}" presName="composite" presStyleCnt="0"/>
      <dgm:spPr/>
    </dgm:pt>
    <dgm:pt modelId="{E5C9F20F-D7D5-4F4D-BA12-FEA3A39A5122}" type="pres">
      <dgm:prSet presAssocID="{05FF7297-820B-4D52-897E-1BD0EF499612}" presName="par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577182-1440-4D5A-B405-C3031AFE4875}" type="pres">
      <dgm:prSet presAssocID="{05FF7297-820B-4D52-897E-1BD0EF499612}" presName="parSh" presStyleLbl="node1" presStyleIdx="1" presStyleCnt="3"/>
      <dgm:spPr/>
      <dgm:t>
        <a:bodyPr/>
        <a:lstStyle/>
        <a:p>
          <a:endParaRPr lang="en-US"/>
        </a:p>
      </dgm:t>
    </dgm:pt>
    <dgm:pt modelId="{2E8CB592-6EBB-4208-AD29-D1CA2D5805F0}" type="pres">
      <dgm:prSet presAssocID="{05FF7297-820B-4D52-897E-1BD0EF499612}" presName="desTx" presStyleLbl="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BC25FD-5E30-45B2-85BE-DDC7774EBD52}" type="pres">
      <dgm:prSet presAssocID="{6B4B38EE-D68E-4EA3-8137-F947A7FD0C0F}" presName="sibTrans" presStyleLbl="sibTrans2D1" presStyleIdx="1" presStyleCnt="2"/>
      <dgm:spPr/>
      <dgm:t>
        <a:bodyPr/>
        <a:lstStyle/>
        <a:p>
          <a:endParaRPr lang="en-US"/>
        </a:p>
      </dgm:t>
    </dgm:pt>
    <dgm:pt modelId="{F48B692C-0BB9-4175-A8FE-8A48EF4E629E}" type="pres">
      <dgm:prSet presAssocID="{6B4B38EE-D68E-4EA3-8137-F947A7FD0C0F}" presName="connTx" presStyleLbl="sibTrans2D1" presStyleIdx="1" presStyleCnt="2"/>
      <dgm:spPr/>
      <dgm:t>
        <a:bodyPr/>
        <a:lstStyle/>
        <a:p>
          <a:endParaRPr lang="en-US"/>
        </a:p>
      </dgm:t>
    </dgm:pt>
    <dgm:pt modelId="{D0C78901-4EC1-462D-8ECB-C4BED0935859}" type="pres">
      <dgm:prSet presAssocID="{C865895A-6587-4D14-B470-9A644171D6BD}" presName="composite" presStyleCnt="0"/>
      <dgm:spPr/>
    </dgm:pt>
    <dgm:pt modelId="{88C6B37C-C635-468C-8067-EADF117E49F1}" type="pres">
      <dgm:prSet presAssocID="{C865895A-6587-4D14-B470-9A644171D6BD}" presName="par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746FBA-4120-45E9-B362-556798BCA42F}" type="pres">
      <dgm:prSet presAssocID="{C865895A-6587-4D14-B470-9A644171D6BD}" presName="parSh" presStyleLbl="node1" presStyleIdx="2" presStyleCnt="3"/>
      <dgm:spPr/>
      <dgm:t>
        <a:bodyPr/>
        <a:lstStyle/>
        <a:p>
          <a:endParaRPr lang="en-US"/>
        </a:p>
      </dgm:t>
    </dgm:pt>
    <dgm:pt modelId="{D941EB0F-5F02-4B0F-9F57-1671C51DFD17}" type="pres">
      <dgm:prSet presAssocID="{C865895A-6587-4D14-B470-9A644171D6BD}" presName="desTx" presStyleLbl="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576F256-9431-4223-A28E-7B5EB500B5D5}" srcId="{FBD306D7-687F-42CC-BD7D-1603A804B071}" destId="{32FFD4C8-3944-4157-AD43-9F31AA0DA794}" srcOrd="0" destOrd="0" parTransId="{81E757D8-9D06-4989-BF28-52576379B5D6}" sibTransId="{7B611AF2-1ABD-43D8-8E78-15DB9BB975DB}"/>
    <dgm:cxn modelId="{250AAD5B-D68C-41B8-A0A6-7079FCCCDB00}" type="presOf" srcId="{60FA07D9-DD70-4C42-8CBF-D116039D081F}" destId="{2E8CB592-6EBB-4208-AD29-D1CA2D5805F0}" srcOrd="0" destOrd="2" presId="urn:microsoft.com/office/officeart/2005/8/layout/process3"/>
    <dgm:cxn modelId="{8D227BFF-72A0-4DA6-B65A-CCA3D5C943A0}" srcId="{05FF7297-820B-4D52-897E-1BD0EF499612}" destId="{0BACB25B-F781-4FC1-8BE1-06B70994A8E0}" srcOrd="0" destOrd="0" parTransId="{D49D1584-57C0-4A5F-8827-3E1EFD5A5F1C}" sibTransId="{338D9AB8-3761-4AC0-8E79-9B6A1CAE8B54}"/>
    <dgm:cxn modelId="{0FBE9D18-8A0F-48BD-A659-A27F04F3DA57}" type="presOf" srcId="{C865895A-6587-4D14-B470-9A644171D6BD}" destId="{88C6B37C-C635-468C-8067-EADF117E49F1}" srcOrd="0" destOrd="0" presId="urn:microsoft.com/office/officeart/2005/8/layout/process3"/>
    <dgm:cxn modelId="{8260C876-B391-44F5-B0D8-797901BAC5D3}" type="presOf" srcId="{AC6FBCEA-D8C2-48AF-A0B7-A98ADEE3A597}" destId="{57553A3A-D19C-4B2B-8563-3D575FFE2A1B}" srcOrd="1" destOrd="0" presId="urn:microsoft.com/office/officeart/2005/8/layout/process3"/>
    <dgm:cxn modelId="{EDB28C8D-60E1-45F6-8ED1-DADE8AD622B8}" srcId="{C865895A-6587-4D14-B470-9A644171D6BD}" destId="{D0691DB4-7EC0-4631-9EC1-A6D17A83DA45}" srcOrd="1" destOrd="0" parTransId="{10B3A822-2F7A-4016-8060-87FA5D6B00CB}" sibTransId="{EA26E4DE-B686-4E97-AB9C-3CD3C10C18EA}"/>
    <dgm:cxn modelId="{22BC0B1A-2879-47D0-A728-C2283D3A3221}" type="presOf" srcId="{4DBF7CDC-819B-47C3-9BB1-D31388194ADD}" destId="{D941EB0F-5F02-4B0F-9F57-1671C51DFD17}" srcOrd="0" destOrd="0" presId="urn:microsoft.com/office/officeart/2005/8/layout/process3"/>
    <dgm:cxn modelId="{ADF182AF-EF10-4A59-AA5F-4907C204245E}" type="presOf" srcId="{FBD306D7-687F-42CC-BD7D-1603A804B071}" destId="{DB0F9659-D7EE-4DCA-9CFC-E77A0E198EB2}" srcOrd="0" destOrd="0" presId="urn:microsoft.com/office/officeart/2005/8/layout/process3"/>
    <dgm:cxn modelId="{5AD50F28-2B46-4831-A955-4FB7FE2059A6}" type="presOf" srcId="{FBD306D7-687F-42CC-BD7D-1603A804B071}" destId="{5BE7E6F1-7B52-474B-B79B-6B4FCEBA7620}" srcOrd="1" destOrd="0" presId="urn:microsoft.com/office/officeart/2005/8/layout/process3"/>
    <dgm:cxn modelId="{6CD5C855-F6AD-43BA-A40D-C0D7C4442782}" srcId="{288A9A5B-F76E-49B3-A4B8-1B161857802C}" destId="{FBD306D7-687F-42CC-BD7D-1603A804B071}" srcOrd="0" destOrd="0" parTransId="{2402E2D4-AA6E-4D8F-B7F8-490EF09B6B1F}" sibTransId="{AC6FBCEA-D8C2-48AF-A0B7-A98ADEE3A597}"/>
    <dgm:cxn modelId="{5145185F-29BE-4AE3-9E38-BC10A438E6D3}" srcId="{05FF7297-820B-4D52-897E-1BD0EF499612}" destId="{D9726063-0D50-407F-9CDD-279D293F15CA}" srcOrd="1" destOrd="0" parTransId="{254F27BE-FDD5-457B-AD81-C43DE2AB8F88}" sibTransId="{F83D1FAD-3FDA-4510-9EED-1CF62AD57670}"/>
    <dgm:cxn modelId="{C5574CEE-D5A0-4F6B-BFEC-E0D8A099131F}" type="presOf" srcId="{288A9A5B-F76E-49B3-A4B8-1B161857802C}" destId="{94F45D27-84F5-46B0-BE91-496EFB081D69}" srcOrd="0" destOrd="0" presId="urn:microsoft.com/office/officeart/2005/8/layout/process3"/>
    <dgm:cxn modelId="{69FE05F0-8C7D-4B83-8F57-5592E209042E}" type="presOf" srcId="{6B4B38EE-D68E-4EA3-8137-F947A7FD0C0F}" destId="{F48B692C-0BB9-4175-A8FE-8A48EF4E629E}" srcOrd="1" destOrd="0" presId="urn:microsoft.com/office/officeart/2005/8/layout/process3"/>
    <dgm:cxn modelId="{D2EA529A-4F80-4CA6-A353-2FA7986D1A5E}" type="presOf" srcId="{05FF7297-820B-4D52-897E-1BD0EF499612}" destId="{E5C9F20F-D7D5-4F4D-BA12-FEA3A39A5122}" srcOrd="0" destOrd="0" presId="urn:microsoft.com/office/officeart/2005/8/layout/process3"/>
    <dgm:cxn modelId="{769F126B-B1AE-42B3-B488-9F4638E22E93}" type="presOf" srcId="{6B4B38EE-D68E-4EA3-8137-F947A7FD0C0F}" destId="{8BBC25FD-5E30-45B2-85BE-DDC7774EBD52}" srcOrd="0" destOrd="0" presId="urn:microsoft.com/office/officeart/2005/8/layout/process3"/>
    <dgm:cxn modelId="{E82D45C9-3C89-48A5-BB00-4652A328DED0}" srcId="{C865895A-6587-4D14-B470-9A644171D6BD}" destId="{6174125C-70E6-4F7B-8198-DB74916FAB93}" srcOrd="2" destOrd="0" parTransId="{CD392B8C-0F90-42BE-A72D-37E81604EB41}" sibTransId="{C9BCC0C6-1600-4580-A0EC-ED8A15E183D8}"/>
    <dgm:cxn modelId="{1F63700D-4740-47EC-8D72-0DCC019400F7}" type="presOf" srcId="{D9726063-0D50-407F-9CDD-279D293F15CA}" destId="{2E8CB592-6EBB-4208-AD29-D1CA2D5805F0}" srcOrd="0" destOrd="1" presId="urn:microsoft.com/office/officeart/2005/8/layout/process3"/>
    <dgm:cxn modelId="{E24EB5A2-3AC6-4252-A303-A9746DF95891}" srcId="{05FF7297-820B-4D52-897E-1BD0EF499612}" destId="{60FA07D9-DD70-4C42-8CBF-D116039D081F}" srcOrd="2" destOrd="0" parTransId="{627FFF9E-3C05-4700-B535-D55BB009E383}" sibTransId="{4A62D23D-6356-40F9-A8A2-95ACB1442010}"/>
    <dgm:cxn modelId="{A4A7EB6B-41A0-46A6-8BC3-C56A8273B144}" srcId="{C865895A-6587-4D14-B470-9A644171D6BD}" destId="{4DBF7CDC-819B-47C3-9BB1-D31388194ADD}" srcOrd="0" destOrd="0" parTransId="{AEDC20AE-816C-44E6-ACA0-E5CA79804B28}" sibTransId="{3E6BE079-59B4-411B-B9DA-F03BFD542DAD}"/>
    <dgm:cxn modelId="{DDF54865-9F93-422E-AF33-84DBFB5C16C9}" type="presOf" srcId="{AC6FBCEA-D8C2-48AF-A0B7-A98ADEE3A597}" destId="{C41F7C17-12E7-4C1B-AD47-6356E730180E}" srcOrd="0" destOrd="0" presId="urn:microsoft.com/office/officeart/2005/8/layout/process3"/>
    <dgm:cxn modelId="{9574E994-6FA0-43BE-B8F7-71390FF5E773}" type="presOf" srcId="{32FFD4C8-3944-4157-AD43-9F31AA0DA794}" destId="{CD51DC90-279B-4E0D-A0C7-5544555F8BE6}" srcOrd="0" destOrd="0" presId="urn:microsoft.com/office/officeart/2005/8/layout/process3"/>
    <dgm:cxn modelId="{1B3792BE-9293-4CC0-80CB-BC03BD4CB03A}" type="presOf" srcId="{D0691DB4-7EC0-4631-9EC1-A6D17A83DA45}" destId="{D941EB0F-5F02-4B0F-9F57-1671C51DFD17}" srcOrd="0" destOrd="1" presId="urn:microsoft.com/office/officeart/2005/8/layout/process3"/>
    <dgm:cxn modelId="{102AD6A3-6912-46B7-BBD9-1EE7FD47247C}" type="presOf" srcId="{0BACB25B-F781-4FC1-8BE1-06B70994A8E0}" destId="{2E8CB592-6EBB-4208-AD29-D1CA2D5805F0}" srcOrd="0" destOrd="0" presId="urn:microsoft.com/office/officeart/2005/8/layout/process3"/>
    <dgm:cxn modelId="{40E9EDD9-6386-4DCB-8834-78C0ACFDDF4B}" type="presOf" srcId="{C865895A-6587-4D14-B470-9A644171D6BD}" destId="{96746FBA-4120-45E9-B362-556798BCA42F}" srcOrd="1" destOrd="0" presId="urn:microsoft.com/office/officeart/2005/8/layout/process3"/>
    <dgm:cxn modelId="{C7A8F7CA-D8D9-47C9-9AB5-E1FDAE9AFB15}" type="presOf" srcId="{6174125C-70E6-4F7B-8198-DB74916FAB93}" destId="{D941EB0F-5F02-4B0F-9F57-1671C51DFD17}" srcOrd="0" destOrd="2" presId="urn:microsoft.com/office/officeart/2005/8/layout/process3"/>
    <dgm:cxn modelId="{3C484037-13A0-473A-A40A-0A0E38449814}" type="presOf" srcId="{05FF7297-820B-4D52-897E-1BD0EF499612}" destId="{0D577182-1440-4D5A-B405-C3031AFE4875}" srcOrd="1" destOrd="0" presId="urn:microsoft.com/office/officeart/2005/8/layout/process3"/>
    <dgm:cxn modelId="{233C8E15-5575-4643-8F0F-8C9DD5FD3DCF}" srcId="{288A9A5B-F76E-49B3-A4B8-1B161857802C}" destId="{C865895A-6587-4D14-B470-9A644171D6BD}" srcOrd="2" destOrd="0" parTransId="{F8946E1B-091B-485B-BDA2-6EAB0AC56004}" sibTransId="{A60BF581-9DE6-447C-AF1D-5CD8369F4344}"/>
    <dgm:cxn modelId="{F0FDA1C5-C6DB-453B-8E12-936C9EF38C31}" srcId="{288A9A5B-F76E-49B3-A4B8-1B161857802C}" destId="{05FF7297-820B-4D52-897E-1BD0EF499612}" srcOrd="1" destOrd="0" parTransId="{A404ECCA-AA57-4875-9DFB-FA1F47DEB3E4}" sibTransId="{6B4B38EE-D68E-4EA3-8137-F947A7FD0C0F}"/>
    <dgm:cxn modelId="{2B981CFB-7D39-43B9-A0B1-81CAAF5968C9}" type="presParOf" srcId="{94F45D27-84F5-46B0-BE91-496EFB081D69}" destId="{1F82E31B-E019-48E9-A6F0-2B5CF3D4B912}" srcOrd="0" destOrd="0" presId="urn:microsoft.com/office/officeart/2005/8/layout/process3"/>
    <dgm:cxn modelId="{168EE2A0-58A2-40ED-B08F-8DA6E7190A55}" type="presParOf" srcId="{1F82E31B-E019-48E9-A6F0-2B5CF3D4B912}" destId="{DB0F9659-D7EE-4DCA-9CFC-E77A0E198EB2}" srcOrd="0" destOrd="0" presId="urn:microsoft.com/office/officeart/2005/8/layout/process3"/>
    <dgm:cxn modelId="{18AF0288-9F4F-4A22-AB6B-EFB65860C285}" type="presParOf" srcId="{1F82E31B-E019-48E9-A6F0-2B5CF3D4B912}" destId="{5BE7E6F1-7B52-474B-B79B-6B4FCEBA7620}" srcOrd="1" destOrd="0" presId="urn:microsoft.com/office/officeart/2005/8/layout/process3"/>
    <dgm:cxn modelId="{31BB3041-1E36-42C5-9782-ED17000181CB}" type="presParOf" srcId="{1F82E31B-E019-48E9-A6F0-2B5CF3D4B912}" destId="{CD51DC90-279B-4E0D-A0C7-5544555F8BE6}" srcOrd="2" destOrd="0" presId="urn:microsoft.com/office/officeart/2005/8/layout/process3"/>
    <dgm:cxn modelId="{4C98B6B6-1536-40EC-9619-6CCA6A503E73}" type="presParOf" srcId="{94F45D27-84F5-46B0-BE91-496EFB081D69}" destId="{C41F7C17-12E7-4C1B-AD47-6356E730180E}" srcOrd="1" destOrd="0" presId="urn:microsoft.com/office/officeart/2005/8/layout/process3"/>
    <dgm:cxn modelId="{8FC99907-3AEF-412E-9848-75B20EFDE6A1}" type="presParOf" srcId="{C41F7C17-12E7-4C1B-AD47-6356E730180E}" destId="{57553A3A-D19C-4B2B-8563-3D575FFE2A1B}" srcOrd="0" destOrd="0" presId="urn:microsoft.com/office/officeart/2005/8/layout/process3"/>
    <dgm:cxn modelId="{1E717638-046B-4AFC-A1C5-BD00C96FE25D}" type="presParOf" srcId="{94F45D27-84F5-46B0-BE91-496EFB081D69}" destId="{8EBD5CD7-AAE4-485D-9364-CF9C54787F95}" srcOrd="2" destOrd="0" presId="urn:microsoft.com/office/officeart/2005/8/layout/process3"/>
    <dgm:cxn modelId="{D583CBEB-F897-4523-BF1B-A6D20562EBF7}" type="presParOf" srcId="{8EBD5CD7-AAE4-485D-9364-CF9C54787F95}" destId="{E5C9F20F-D7D5-4F4D-BA12-FEA3A39A5122}" srcOrd="0" destOrd="0" presId="urn:microsoft.com/office/officeart/2005/8/layout/process3"/>
    <dgm:cxn modelId="{D9158C34-614B-4EC5-8C96-9E48139676E7}" type="presParOf" srcId="{8EBD5CD7-AAE4-485D-9364-CF9C54787F95}" destId="{0D577182-1440-4D5A-B405-C3031AFE4875}" srcOrd="1" destOrd="0" presId="urn:microsoft.com/office/officeart/2005/8/layout/process3"/>
    <dgm:cxn modelId="{C5CA28AD-DE5D-427A-B833-A34B90754B80}" type="presParOf" srcId="{8EBD5CD7-AAE4-485D-9364-CF9C54787F95}" destId="{2E8CB592-6EBB-4208-AD29-D1CA2D5805F0}" srcOrd="2" destOrd="0" presId="urn:microsoft.com/office/officeart/2005/8/layout/process3"/>
    <dgm:cxn modelId="{2E71ABA2-1BD8-417E-BE7D-804B2E5250CC}" type="presParOf" srcId="{94F45D27-84F5-46B0-BE91-496EFB081D69}" destId="{8BBC25FD-5E30-45B2-85BE-DDC7774EBD52}" srcOrd="3" destOrd="0" presId="urn:microsoft.com/office/officeart/2005/8/layout/process3"/>
    <dgm:cxn modelId="{B9DA5BA3-E031-4F56-A909-7F208C21751F}" type="presParOf" srcId="{8BBC25FD-5E30-45B2-85BE-DDC7774EBD52}" destId="{F48B692C-0BB9-4175-A8FE-8A48EF4E629E}" srcOrd="0" destOrd="0" presId="urn:microsoft.com/office/officeart/2005/8/layout/process3"/>
    <dgm:cxn modelId="{9CAF58A2-7771-4E75-A58E-FB306ADECFC1}" type="presParOf" srcId="{94F45D27-84F5-46B0-BE91-496EFB081D69}" destId="{D0C78901-4EC1-462D-8ECB-C4BED0935859}" srcOrd="4" destOrd="0" presId="urn:microsoft.com/office/officeart/2005/8/layout/process3"/>
    <dgm:cxn modelId="{A248A32A-515F-418A-9D0A-D3B0103471C1}" type="presParOf" srcId="{D0C78901-4EC1-462D-8ECB-C4BED0935859}" destId="{88C6B37C-C635-468C-8067-EADF117E49F1}" srcOrd="0" destOrd="0" presId="urn:microsoft.com/office/officeart/2005/8/layout/process3"/>
    <dgm:cxn modelId="{3943A0F4-9FDD-48E1-AA6E-93A71F10DF3C}" type="presParOf" srcId="{D0C78901-4EC1-462D-8ECB-C4BED0935859}" destId="{96746FBA-4120-45E9-B362-556798BCA42F}" srcOrd="1" destOrd="0" presId="urn:microsoft.com/office/officeart/2005/8/layout/process3"/>
    <dgm:cxn modelId="{6AF7C237-0B31-409C-9B92-7C1B9C498472}" type="presParOf" srcId="{D0C78901-4EC1-462D-8ECB-C4BED0935859}" destId="{D941EB0F-5F02-4B0F-9F57-1671C51DFD17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3D14142-6A8F-4229-BBED-2C92752ADEA7}" type="doc">
      <dgm:prSet loTypeId="urn:microsoft.com/office/officeart/2008/layout/AccentedPicture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497F74A-187E-4A5B-9F44-E6F5416BC498}">
      <dgm:prSet phldrT="[Text]"/>
      <dgm:spPr/>
      <dgm:t>
        <a:bodyPr/>
        <a:lstStyle/>
        <a:p>
          <a:r>
            <a:rPr lang="en-US" dirty="0" smtClean="0">
              <a:solidFill>
                <a:schemeClr val="accent6"/>
              </a:solidFill>
            </a:rPr>
            <a:t>Payment Channels</a:t>
          </a:r>
          <a:endParaRPr lang="en-US" dirty="0">
            <a:solidFill>
              <a:schemeClr val="accent6"/>
            </a:solidFill>
          </a:endParaRPr>
        </a:p>
      </dgm:t>
    </dgm:pt>
    <dgm:pt modelId="{52834A75-B83F-4B27-9199-CA201700798C}" type="parTrans" cxnId="{137F4300-E01B-43EA-9E2C-47E876294633}">
      <dgm:prSet/>
      <dgm:spPr/>
      <dgm:t>
        <a:bodyPr/>
        <a:lstStyle/>
        <a:p>
          <a:endParaRPr lang="en-US"/>
        </a:p>
      </dgm:t>
    </dgm:pt>
    <dgm:pt modelId="{B2D38A1F-7351-45E3-8336-C1D464D26A11}" type="sibTrans" cxnId="{137F4300-E01B-43EA-9E2C-47E876294633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</dgm:spPr>
      <dgm:t>
        <a:bodyPr/>
        <a:lstStyle/>
        <a:p>
          <a:endParaRPr lang="en-US"/>
        </a:p>
      </dgm:t>
    </dgm:pt>
    <dgm:pt modelId="{DACA7BA6-5EC0-4C36-A88E-CA924352AD58}">
      <dgm:prSet phldrT="[Text]"/>
      <dgm:spPr/>
      <dgm:t>
        <a:bodyPr/>
        <a:lstStyle/>
        <a:p>
          <a:r>
            <a:rPr lang="en-US" dirty="0" smtClean="0"/>
            <a:t>PPA</a:t>
          </a:r>
          <a:endParaRPr lang="en-US" dirty="0"/>
        </a:p>
      </dgm:t>
    </dgm:pt>
    <dgm:pt modelId="{EC3B13E3-3F64-4F31-870D-D815C4D13F1C}" type="parTrans" cxnId="{E44F345F-1414-4D3D-9F5D-665983F70902}">
      <dgm:prSet/>
      <dgm:spPr/>
      <dgm:t>
        <a:bodyPr/>
        <a:lstStyle/>
        <a:p>
          <a:endParaRPr lang="en-US"/>
        </a:p>
      </dgm:t>
    </dgm:pt>
    <dgm:pt modelId="{504040B5-6E20-4BF5-B6FE-81702B0B9C62}" type="sibTrans" cxnId="{E44F345F-1414-4D3D-9F5D-665983F70902}">
      <dgm:prSet/>
      <dgm:spPr/>
      <dgm:t>
        <a:bodyPr/>
        <a:lstStyle/>
        <a:p>
          <a:endParaRPr lang="en-US"/>
        </a:p>
      </dgm:t>
    </dgm:pt>
    <dgm:pt modelId="{4766166D-CF1E-427B-8793-3ABF57E50442}">
      <dgm:prSet phldrT="[Text]"/>
      <dgm:spPr/>
      <dgm:t>
        <a:bodyPr/>
        <a:lstStyle/>
        <a:p>
          <a:r>
            <a:rPr lang="en-US" dirty="0" smtClean="0"/>
            <a:t>DSC</a:t>
          </a:r>
          <a:endParaRPr lang="en-US" dirty="0"/>
        </a:p>
      </dgm:t>
    </dgm:pt>
    <dgm:pt modelId="{45276A79-174F-46E9-9494-8AE6CE7AF868}" type="parTrans" cxnId="{8BD8D820-B35B-458A-A012-6F5E6B04D668}">
      <dgm:prSet/>
      <dgm:spPr/>
      <dgm:t>
        <a:bodyPr/>
        <a:lstStyle/>
        <a:p>
          <a:endParaRPr lang="en-US"/>
        </a:p>
      </dgm:t>
    </dgm:pt>
    <dgm:pt modelId="{8F3564EE-6F0B-4DC2-9C69-34AC7EBEDDFD}" type="sibTrans" cxnId="{8BD8D820-B35B-458A-A012-6F5E6B04D668}">
      <dgm:prSet/>
      <dgm:spPr/>
      <dgm:t>
        <a:bodyPr/>
        <a:lstStyle/>
        <a:p>
          <a:endParaRPr lang="en-US"/>
        </a:p>
      </dgm:t>
    </dgm:pt>
    <dgm:pt modelId="{7DCD9743-BF92-4445-8082-A81C1F786D84}">
      <dgm:prSet phldrT="[Text]"/>
      <dgm:spPr/>
      <dgm:t>
        <a:bodyPr/>
        <a:lstStyle/>
        <a:p>
          <a:r>
            <a:rPr lang="en-US" dirty="0" smtClean="0"/>
            <a:t>CINB</a:t>
          </a:r>
          <a:endParaRPr lang="en-US" dirty="0"/>
        </a:p>
      </dgm:t>
    </dgm:pt>
    <dgm:pt modelId="{5B049BEC-A4A9-41FA-B9D7-C76E4F64B23F}" type="parTrans" cxnId="{3C098B6A-F659-431B-ADAB-8F1DA2C9665A}">
      <dgm:prSet/>
      <dgm:spPr/>
      <dgm:t>
        <a:bodyPr/>
        <a:lstStyle/>
        <a:p>
          <a:endParaRPr lang="en-US"/>
        </a:p>
      </dgm:t>
    </dgm:pt>
    <dgm:pt modelId="{EBFF3C35-4B21-4D02-BF0F-C2D19717449D}" type="sibTrans" cxnId="{3C098B6A-F659-431B-ADAB-8F1DA2C9665A}">
      <dgm:prSet/>
      <dgm:spPr/>
      <dgm:t>
        <a:bodyPr/>
        <a:lstStyle/>
        <a:p>
          <a:endParaRPr lang="en-US"/>
        </a:p>
      </dgm:t>
    </dgm:pt>
    <dgm:pt modelId="{13293DDF-E3AB-4263-9851-054AF84D22E8}" type="pres">
      <dgm:prSet presAssocID="{03D14142-6A8F-4229-BBED-2C92752ADEA7}" presName="Name0" presStyleCnt="0">
        <dgm:presLayoutVars>
          <dgm:dir/>
        </dgm:presLayoutVars>
      </dgm:prSet>
      <dgm:spPr/>
      <dgm:t>
        <a:bodyPr/>
        <a:lstStyle/>
        <a:p>
          <a:endParaRPr lang="en-US"/>
        </a:p>
      </dgm:t>
    </dgm:pt>
    <dgm:pt modelId="{FD3F885F-4F4C-4572-AF23-17558AF75782}" type="pres">
      <dgm:prSet presAssocID="{B2D38A1F-7351-45E3-8336-C1D464D26A11}" presName="picture_1" presStyleLbl="bgImgPlace1" presStyleIdx="0" presStyleCnt="1" custScaleX="59137" custScaleY="57329"/>
      <dgm:spPr/>
      <dgm:t>
        <a:bodyPr/>
        <a:lstStyle/>
        <a:p>
          <a:endParaRPr lang="en-US"/>
        </a:p>
      </dgm:t>
    </dgm:pt>
    <dgm:pt modelId="{37D259B4-B51C-4B51-8768-6FB134C274F7}" type="pres">
      <dgm:prSet presAssocID="{5497F74A-187E-4A5B-9F44-E6F5416BC498}" presName="text_1" presStyleLbl="node1" presStyleIdx="0" presStyleCnt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0EE71B-7B5D-4678-ABB2-2DDA3350F50A}" type="pres">
      <dgm:prSet presAssocID="{03D14142-6A8F-4229-BBED-2C92752ADEA7}" presName="linV" presStyleCnt="0"/>
      <dgm:spPr/>
    </dgm:pt>
    <dgm:pt modelId="{637980C2-B7E3-4A17-B7FC-0EB45B41C8A0}" type="pres">
      <dgm:prSet presAssocID="{DACA7BA6-5EC0-4C36-A88E-CA924352AD58}" presName="pair" presStyleCnt="0"/>
      <dgm:spPr/>
    </dgm:pt>
    <dgm:pt modelId="{DDA0F866-BF42-406F-BC2E-CC81840149EC}" type="pres">
      <dgm:prSet presAssocID="{DACA7BA6-5EC0-4C36-A88E-CA924352AD58}" presName="spaceH" presStyleLbl="node1" presStyleIdx="0" presStyleCnt="0"/>
      <dgm:spPr/>
    </dgm:pt>
    <dgm:pt modelId="{B19A2A9F-20BB-41D6-BF16-01B2716A16F8}" type="pres">
      <dgm:prSet presAssocID="{DACA7BA6-5EC0-4C36-A88E-CA924352AD58}" presName="desPictures" presStyleLbl="alignImgPlace1" presStyleIdx="0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EC1A7615-1A2D-49CA-AA94-8243A4F732D5}" type="pres">
      <dgm:prSet presAssocID="{DACA7BA6-5EC0-4C36-A88E-CA924352AD58}" presName="desTextWrapper" presStyleCnt="0"/>
      <dgm:spPr/>
    </dgm:pt>
    <dgm:pt modelId="{B3E0459E-7144-4FDA-AA86-2F47A3508D22}" type="pres">
      <dgm:prSet presAssocID="{DACA7BA6-5EC0-4C36-A88E-CA924352AD58}" presName="des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272527-4054-4CEA-9327-47BC25FB37B6}" type="pres">
      <dgm:prSet presAssocID="{504040B5-6E20-4BF5-B6FE-81702B0B9C62}" presName="spaceV" presStyleCnt="0"/>
      <dgm:spPr/>
    </dgm:pt>
    <dgm:pt modelId="{15E9EC01-6C8C-4371-B613-E61AE75C2EF7}" type="pres">
      <dgm:prSet presAssocID="{4766166D-CF1E-427B-8793-3ABF57E50442}" presName="pair" presStyleCnt="0"/>
      <dgm:spPr/>
    </dgm:pt>
    <dgm:pt modelId="{7B5487B7-FCC4-4455-97BD-93F731B599EC}" type="pres">
      <dgm:prSet presAssocID="{4766166D-CF1E-427B-8793-3ABF57E50442}" presName="spaceH" presStyleLbl="node1" presStyleIdx="0" presStyleCnt="0"/>
      <dgm:spPr/>
    </dgm:pt>
    <dgm:pt modelId="{6CD98F96-2B2A-4CBC-AA1A-A1EA29FAC432}" type="pres">
      <dgm:prSet presAssocID="{4766166D-CF1E-427B-8793-3ABF57E50442}" presName="desPictures" presStyleLbl="alignImgPlace1" presStyleIdx="1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B35B1AE2-2E4A-487B-9B60-5D7EE223B5C8}" type="pres">
      <dgm:prSet presAssocID="{4766166D-CF1E-427B-8793-3ABF57E50442}" presName="desTextWrapper" presStyleCnt="0"/>
      <dgm:spPr/>
    </dgm:pt>
    <dgm:pt modelId="{E9E5A6A4-EA6C-49AF-A306-7BF3F80EB97C}" type="pres">
      <dgm:prSet presAssocID="{4766166D-CF1E-427B-8793-3ABF57E50442}" presName="des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676184-668E-4978-8D4B-9E8DB868798A}" type="pres">
      <dgm:prSet presAssocID="{8F3564EE-6F0B-4DC2-9C69-34AC7EBEDDFD}" presName="spaceV" presStyleCnt="0"/>
      <dgm:spPr/>
    </dgm:pt>
    <dgm:pt modelId="{2F205160-FB3E-4561-B1B0-4E038278B025}" type="pres">
      <dgm:prSet presAssocID="{7DCD9743-BF92-4445-8082-A81C1F786D84}" presName="pair" presStyleCnt="0"/>
      <dgm:spPr/>
    </dgm:pt>
    <dgm:pt modelId="{8C84CD4D-94B1-4EA2-A2E7-3C385F36299C}" type="pres">
      <dgm:prSet presAssocID="{7DCD9743-BF92-4445-8082-A81C1F786D84}" presName="spaceH" presStyleLbl="node1" presStyleIdx="0" presStyleCnt="0"/>
      <dgm:spPr/>
    </dgm:pt>
    <dgm:pt modelId="{EAFF2F68-425C-49C3-B34C-AD574720356A}" type="pres">
      <dgm:prSet presAssocID="{7DCD9743-BF92-4445-8082-A81C1F786D84}" presName="desPictures" presStyleLbl="alignImgPlace1" presStyleIdx="2" presStyleCnt="3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IN"/>
        </a:p>
      </dgm:t>
    </dgm:pt>
    <dgm:pt modelId="{949995CC-28DA-4069-B7D1-65DBF078C6F6}" type="pres">
      <dgm:prSet presAssocID="{7DCD9743-BF92-4445-8082-A81C1F786D84}" presName="desTextWrapper" presStyleCnt="0"/>
      <dgm:spPr/>
    </dgm:pt>
    <dgm:pt modelId="{FCFA30AB-E70E-4EB4-A7A9-4F00817D579F}" type="pres">
      <dgm:prSet presAssocID="{7DCD9743-BF92-4445-8082-A81C1F786D84}" presName="des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84F1A8-DB1E-4DE1-A856-362D2B08CD74}" type="pres">
      <dgm:prSet presAssocID="{03D14142-6A8F-4229-BBED-2C92752ADEA7}" presName="maxNode" presStyleCnt="0"/>
      <dgm:spPr/>
    </dgm:pt>
    <dgm:pt modelId="{F85AF922-80FA-4400-8191-97E35A5813AF}" type="pres">
      <dgm:prSet presAssocID="{03D14142-6A8F-4229-BBED-2C92752ADEA7}" presName="Name33" presStyleCnt="0"/>
      <dgm:spPr/>
    </dgm:pt>
  </dgm:ptLst>
  <dgm:cxnLst>
    <dgm:cxn modelId="{43818BAC-1477-4C9A-9E70-9F99653D7BE6}" type="presOf" srcId="{7DCD9743-BF92-4445-8082-A81C1F786D84}" destId="{FCFA30AB-E70E-4EB4-A7A9-4F00817D579F}" srcOrd="0" destOrd="0" presId="urn:microsoft.com/office/officeart/2008/layout/AccentedPicture"/>
    <dgm:cxn modelId="{7AF48D46-C005-4710-9E14-E7C0B3197932}" type="presOf" srcId="{4766166D-CF1E-427B-8793-3ABF57E50442}" destId="{E9E5A6A4-EA6C-49AF-A306-7BF3F80EB97C}" srcOrd="0" destOrd="0" presId="urn:microsoft.com/office/officeart/2008/layout/AccentedPicture"/>
    <dgm:cxn modelId="{E4048C49-5268-4DC5-9802-FFD89ED26BBE}" type="presOf" srcId="{DACA7BA6-5EC0-4C36-A88E-CA924352AD58}" destId="{B3E0459E-7144-4FDA-AA86-2F47A3508D22}" srcOrd="0" destOrd="0" presId="urn:microsoft.com/office/officeart/2008/layout/AccentedPicture"/>
    <dgm:cxn modelId="{137F4300-E01B-43EA-9E2C-47E876294633}" srcId="{03D14142-6A8F-4229-BBED-2C92752ADEA7}" destId="{5497F74A-187E-4A5B-9F44-E6F5416BC498}" srcOrd="0" destOrd="0" parTransId="{52834A75-B83F-4B27-9199-CA201700798C}" sibTransId="{B2D38A1F-7351-45E3-8336-C1D464D26A11}"/>
    <dgm:cxn modelId="{5D61A534-7288-47F3-AD5F-2555139F457A}" type="presOf" srcId="{03D14142-6A8F-4229-BBED-2C92752ADEA7}" destId="{13293DDF-E3AB-4263-9851-054AF84D22E8}" srcOrd="0" destOrd="0" presId="urn:microsoft.com/office/officeart/2008/layout/AccentedPicture"/>
    <dgm:cxn modelId="{9DF634E1-CE8F-4140-A35D-FC3CA745F9AC}" type="presOf" srcId="{5497F74A-187E-4A5B-9F44-E6F5416BC498}" destId="{37D259B4-B51C-4B51-8768-6FB134C274F7}" srcOrd="0" destOrd="0" presId="urn:microsoft.com/office/officeart/2008/layout/AccentedPicture"/>
    <dgm:cxn modelId="{3C098B6A-F659-431B-ADAB-8F1DA2C9665A}" srcId="{03D14142-6A8F-4229-BBED-2C92752ADEA7}" destId="{7DCD9743-BF92-4445-8082-A81C1F786D84}" srcOrd="3" destOrd="0" parTransId="{5B049BEC-A4A9-41FA-B9D7-C76E4F64B23F}" sibTransId="{EBFF3C35-4B21-4D02-BF0F-C2D19717449D}"/>
    <dgm:cxn modelId="{E44F345F-1414-4D3D-9F5D-665983F70902}" srcId="{03D14142-6A8F-4229-BBED-2C92752ADEA7}" destId="{DACA7BA6-5EC0-4C36-A88E-CA924352AD58}" srcOrd="1" destOrd="0" parTransId="{EC3B13E3-3F64-4F31-870D-D815C4D13F1C}" sibTransId="{504040B5-6E20-4BF5-B6FE-81702B0B9C62}"/>
    <dgm:cxn modelId="{8BD8D820-B35B-458A-A012-6F5E6B04D668}" srcId="{03D14142-6A8F-4229-BBED-2C92752ADEA7}" destId="{4766166D-CF1E-427B-8793-3ABF57E50442}" srcOrd="2" destOrd="0" parTransId="{45276A79-174F-46E9-9494-8AE6CE7AF868}" sibTransId="{8F3564EE-6F0B-4DC2-9C69-34AC7EBEDDFD}"/>
    <dgm:cxn modelId="{2BEEEF28-32FD-48C9-9DAF-8E108FE92FD9}" type="presOf" srcId="{B2D38A1F-7351-45E3-8336-C1D464D26A11}" destId="{FD3F885F-4F4C-4572-AF23-17558AF75782}" srcOrd="0" destOrd="0" presId="urn:microsoft.com/office/officeart/2008/layout/AccentedPicture"/>
    <dgm:cxn modelId="{A4114CAB-0DDF-4414-9660-B692B33CD6DA}" type="presParOf" srcId="{13293DDF-E3AB-4263-9851-054AF84D22E8}" destId="{FD3F885F-4F4C-4572-AF23-17558AF75782}" srcOrd="0" destOrd="0" presId="urn:microsoft.com/office/officeart/2008/layout/AccentedPicture"/>
    <dgm:cxn modelId="{9BB4888E-6C60-474F-920C-B4664D3D27CC}" type="presParOf" srcId="{13293DDF-E3AB-4263-9851-054AF84D22E8}" destId="{37D259B4-B51C-4B51-8768-6FB134C274F7}" srcOrd="1" destOrd="0" presId="urn:microsoft.com/office/officeart/2008/layout/AccentedPicture"/>
    <dgm:cxn modelId="{185CD885-E4C8-4377-877B-B207B908DDFD}" type="presParOf" srcId="{13293DDF-E3AB-4263-9851-054AF84D22E8}" destId="{D30EE71B-7B5D-4678-ABB2-2DDA3350F50A}" srcOrd="2" destOrd="0" presId="urn:microsoft.com/office/officeart/2008/layout/AccentedPicture"/>
    <dgm:cxn modelId="{366380F5-C3D1-4023-B516-023071CF9E1D}" type="presParOf" srcId="{D30EE71B-7B5D-4678-ABB2-2DDA3350F50A}" destId="{637980C2-B7E3-4A17-B7FC-0EB45B41C8A0}" srcOrd="0" destOrd="0" presId="urn:microsoft.com/office/officeart/2008/layout/AccentedPicture"/>
    <dgm:cxn modelId="{1B3884C3-0119-438C-8E84-F8E6200DDDED}" type="presParOf" srcId="{637980C2-B7E3-4A17-B7FC-0EB45B41C8A0}" destId="{DDA0F866-BF42-406F-BC2E-CC81840149EC}" srcOrd="0" destOrd="0" presId="urn:microsoft.com/office/officeart/2008/layout/AccentedPicture"/>
    <dgm:cxn modelId="{5EF0D7FE-3B3B-4CA4-8895-16518A46D54B}" type="presParOf" srcId="{637980C2-B7E3-4A17-B7FC-0EB45B41C8A0}" destId="{B19A2A9F-20BB-41D6-BF16-01B2716A16F8}" srcOrd="1" destOrd="0" presId="urn:microsoft.com/office/officeart/2008/layout/AccentedPicture"/>
    <dgm:cxn modelId="{72F168C8-DADD-49A5-BB17-605D4800D5F4}" type="presParOf" srcId="{637980C2-B7E3-4A17-B7FC-0EB45B41C8A0}" destId="{EC1A7615-1A2D-49CA-AA94-8243A4F732D5}" srcOrd="2" destOrd="0" presId="urn:microsoft.com/office/officeart/2008/layout/AccentedPicture"/>
    <dgm:cxn modelId="{EB423ACA-4C98-4057-B942-783F76F1A0A3}" type="presParOf" srcId="{EC1A7615-1A2D-49CA-AA94-8243A4F732D5}" destId="{B3E0459E-7144-4FDA-AA86-2F47A3508D22}" srcOrd="0" destOrd="0" presId="urn:microsoft.com/office/officeart/2008/layout/AccentedPicture"/>
    <dgm:cxn modelId="{0A21107D-4685-4DCB-8634-444804E7936D}" type="presParOf" srcId="{D30EE71B-7B5D-4678-ABB2-2DDA3350F50A}" destId="{82272527-4054-4CEA-9327-47BC25FB37B6}" srcOrd="1" destOrd="0" presId="urn:microsoft.com/office/officeart/2008/layout/AccentedPicture"/>
    <dgm:cxn modelId="{9FEDDF8C-0382-49B7-B312-E55C78B7C598}" type="presParOf" srcId="{D30EE71B-7B5D-4678-ABB2-2DDA3350F50A}" destId="{15E9EC01-6C8C-4371-B613-E61AE75C2EF7}" srcOrd="2" destOrd="0" presId="urn:microsoft.com/office/officeart/2008/layout/AccentedPicture"/>
    <dgm:cxn modelId="{643111A1-0904-44AA-BC96-F1A15B17D4E2}" type="presParOf" srcId="{15E9EC01-6C8C-4371-B613-E61AE75C2EF7}" destId="{7B5487B7-FCC4-4455-97BD-93F731B599EC}" srcOrd="0" destOrd="0" presId="urn:microsoft.com/office/officeart/2008/layout/AccentedPicture"/>
    <dgm:cxn modelId="{1FF1CFD2-B376-4C61-8738-EDD404D8694F}" type="presParOf" srcId="{15E9EC01-6C8C-4371-B613-E61AE75C2EF7}" destId="{6CD98F96-2B2A-4CBC-AA1A-A1EA29FAC432}" srcOrd="1" destOrd="0" presId="urn:microsoft.com/office/officeart/2008/layout/AccentedPicture"/>
    <dgm:cxn modelId="{F4D5CEF4-464D-41BD-9CA9-3B87C391887B}" type="presParOf" srcId="{15E9EC01-6C8C-4371-B613-E61AE75C2EF7}" destId="{B35B1AE2-2E4A-487B-9B60-5D7EE223B5C8}" srcOrd="2" destOrd="0" presId="urn:microsoft.com/office/officeart/2008/layout/AccentedPicture"/>
    <dgm:cxn modelId="{45D9E3BF-1B80-413D-8621-0A124FE535D8}" type="presParOf" srcId="{B35B1AE2-2E4A-487B-9B60-5D7EE223B5C8}" destId="{E9E5A6A4-EA6C-49AF-A306-7BF3F80EB97C}" srcOrd="0" destOrd="0" presId="urn:microsoft.com/office/officeart/2008/layout/AccentedPicture"/>
    <dgm:cxn modelId="{FB4A46E1-1A28-48BC-B2F4-63E717B376B0}" type="presParOf" srcId="{D30EE71B-7B5D-4678-ABB2-2DDA3350F50A}" destId="{FD676184-668E-4978-8D4B-9E8DB868798A}" srcOrd="3" destOrd="0" presId="urn:microsoft.com/office/officeart/2008/layout/AccentedPicture"/>
    <dgm:cxn modelId="{37B3400D-3EC8-4D8A-A445-44E13D0D0175}" type="presParOf" srcId="{D30EE71B-7B5D-4678-ABB2-2DDA3350F50A}" destId="{2F205160-FB3E-4561-B1B0-4E038278B025}" srcOrd="4" destOrd="0" presId="urn:microsoft.com/office/officeart/2008/layout/AccentedPicture"/>
    <dgm:cxn modelId="{75852E4C-4B87-4EA3-8828-27678EEC373F}" type="presParOf" srcId="{2F205160-FB3E-4561-B1B0-4E038278B025}" destId="{8C84CD4D-94B1-4EA2-A2E7-3C385F36299C}" srcOrd="0" destOrd="0" presId="urn:microsoft.com/office/officeart/2008/layout/AccentedPicture"/>
    <dgm:cxn modelId="{0F9EF7BA-69B9-49CE-A111-A8B6EE0BF7A7}" type="presParOf" srcId="{2F205160-FB3E-4561-B1B0-4E038278B025}" destId="{EAFF2F68-425C-49C3-B34C-AD574720356A}" srcOrd="1" destOrd="0" presId="urn:microsoft.com/office/officeart/2008/layout/AccentedPicture"/>
    <dgm:cxn modelId="{972A0A34-E969-4808-82AE-3C7980695A55}" type="presParOf" srcId="{2F205160-FB3E-4561-B1B0-4E038278B025}" destId="{949995CC-28DA-4069-B7D1-65DBF078C6F6}" srcOrd="2" destOrd="0" presId="urn:microsoft.com/office/officeart/2008/layout/AccentedPicture"/>
    <dgm:cxn modelId="{27D0BF3A-9109-4E7E-A8CA-A5F7397B2B28}" type="presParOf" srcId="{949995CC-28DA-4069-B7D1-65DBF078C6F6}" destId="{FCFA30AB-E70E-4EB4-A7A9-4F00817D579F}" srcOrd="0" destOrd="0" presId="urn:microsoft.com/office/officeart/2008/layout/AccentedPicture"/>
    <dgm:cxn modelId="{DF8F6B89-3ADF-4DE9-BFFA-F13A2C4528FE}" type="presParOf" srcId="{13293DDF-E3AB-4263-9851-054AF84D22E8}" destId="{4A84F1A8-DB1E-4DE1-A856-362D2B08CD74}" srcOrd="3" destOrd="0" presId="urn:microsoft.com/office/officeart/2008/layout/AccentedPicture"/>
    <dgm:cxn modelId="{DAEBD00D-14FF-45AA-BB75-698469A99E92}" type="presParOf" srcId="{4A84F1A8-DB1E-4DE1-A856-362D2B08CD74}" destId="{F85AF922-80FA-4400-8191-97E35A5813AF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B5CDF4F-29C0-4DC2-A5C6-549C711C551B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AD2C6FD-3CB4-43D0-A1C1-19D3BFCA2FCA}">
      <dgm:prSet phldrT="[Text]" custT="1"/>
      <dgm:spPr/>
      <dgm:t>
        <a:bodyPr/>
        <a:lstStyle/>
        <a:p>
          <a:r>
            <a:rPr lang="en-US" sz="1100" dirty="0" smtClean="0"/>
            <a:t>Step 1</a:t>
          </a:r>
          <a:endParaRPr lang="en-US" sz="1100" dirty="0"/>
        </a:p>
      </dgm:t>
    </dgm:pt>
    <dgm:pt modelId="{DC143F3B-9C46-4F15-BEE7-B959E923A4C0}" type="parTrans" cxnId="{59171260-A2A1-4DA0-808B-531CA02A249B}">
      <dgm:prSet/>
      <dgm:spPr/>
      <dgm:t>
        <a:bodyPr/>
        <a:lstStyle/>
        <a:p>
          <a:endParaRPr lang="en-US"/>
        </a:p>
      </dgm:t>
    </dgm:pt>
    <dgm:pt modelId="{410544A1-A48B-4601-816D-FCF3915A750B}" type="sibTrans" cxnId="{59171260-A2A1-4DA0-808B-531CA02A249B}">
      <dgm:prSet/>
      <dgm:spPr/>
      <dgm:t>
        <a:bodyPr/>
        <a:lstStyle/>
        <a:p>
          <a:endParaRPr lang="en-US"/>
        </a:p>
      </dgm:t>
    </dgm:pt>
    <dgm:pt modelId="{D6BCB066-6BA2-4935-8DEA-5973CFE4F231}">
      <dgm:prSet phldrT="[Text]" custT="1"/>
      <dgm:spPr/>
      <dgm:t>
        <a:bodyPr/>
        <a:lstStyle/>
        <a:p>
          <a:r>
            <a:rPr lang="en-US" sz="1400" dirty="0" smtClean="0"/>
            <a:t>MCTS</a:t>
          </a:r>
          <a:r>
            <a:rPr lang="en-US" sz="1400" baseline="0" dirty="0" smtClean="0"/>
            <a:t> records pushed into PFMS (selected fields only)</a:t>
          </a:r>
          <a:endParaRPr lang="en-US" sz="1400" dirty="0"/>
        </a:p>
      </dgm:t>
    </dgm:pt>
    <dgm:pt modelId="{2D30F413-8742-4135-8744-62A678A37E81}" type="parTrans" cxnId="{A2649558-4BFD-48AA-978E-A58F489AA7B8}">
      <dgm:prSet/>
      <dgm:spPr/>
      <dgm:t>
        <a:bodyPr/>
        <a:lstStyle/>
        <a:p>
          <a:endParaRPr lang="en-US"/>
        </a:p>
      </dgm:t>
    </dgm:pt>
    <dgm:pt modelId="{E886A5E0-A13A-4C3D-8163-17A195F9B7B8}" type="sibTrans" cxnId="{A2649558-4BFD-48AA-978E-A58F489AA7B8}">
      <dgm:prSet/>
      <dgm:spPr/>
      <dgm:t>
        <a:bodyPr/>
        <a:lstStyle/>
        <a:p>
          <a:endParaRPr lang="en-US"/>
        </a:p>
      </dgm:t>
    </dgm:pt>
    <dgm:pt modelId="{993566F3-FDD8-4721-AD00-410BF6118B9F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n-US" sz="1100" dirty="0" smtClean="0"/>
            <a:t>Step 2</a:t>
          </a:r>
          <a:endParaRPr lang="en-US" sz="1100" dirty="0"/>
        </a:p>
      </dgm:t>
    </dgm:pt>
    <dgm:pt modelId="{42CA2DBD-3383-4AD4-B5A0-07939FE0D756}" type="parTrans" cxnId="{C334BAA6-C914-4FDD-AE64-DB66F7C124AB}">
      <dgm:prSet/>
      <dgm:spPr/>
      <dgm:t>
        <a:bodyPr/>
        <a:lstStyle/>
        <a:p>
          <a:endParaRPr lang="en-US"/>
        </a:p>
      </dgm:t>
    </dgm:pt>
    <dgm:pt modelId="{5D49EC8C-BD83-4555-97FD-D1C0BD2CA616}" type="sibTrans" cxnId="{C334BAA6-C914-4FDD-AE64-DB66F7C124AB}">
      <dgm:prSet/>
      <dgm:spPr/>
      <dgm:t>
        <a:bodyPr/>
        <a:lstStyle/>
        <a:p>
          <a:endParaRPr lang="en-US"/>
        </a:p>
      </dgm:t>
    </dgm:pt>
    <dgm:pt modelId="{598F2165-401D-48A0-AE52-75A0DD388347}">
      <dgm:prSet phldrT="[Text]" custT="1"/>
      <dgm:spPr/>
      <dgm:t>
        <a:bodyPr/>
        <a:lstStyle/>
        <a:p>
          <a:r>
            <a:rPr lang="en-US" sz="1400" dirty="0" smtClean="0"/>
            <a:t>Agency data operator selects the beneficiaries</a:t>
          </a:r>
          <a:r>
            <a:rPr lang="en-US" sz="1400" baseline="0" dirty="0" smtClean="0"/>
            <a:t> from MCTS – PFMS master to import into Agency.</a:t>
          </a:r>
          <a:endParaRPr lang="en-US" sz="1400" dirty="0"/>
        </a:p>
      </dgm:t>
    </dgm:pt>
    <dgm:pt modelId="{AD6D5B95-AAD3-4D86-BEF7-C2CAC7324011}" type="parTrans" cxnId="{9BCE7584-AD25-44A0-8A7C-60A78DAA8CAF}">
      <dgm:prSet/>
      <dgm:spPr/>
      <dgm:t>
        <a:bodyPr/>
        <a:lstStyle/>
        <a:p>
          <a:endParaRPr lang="en-US"/>
        </a:p>
      </dgm:t>
    </dgm:pt>
    <dgm:pt modelId="{47D25312-B6AB-46B2-8CA3-5509AACF1A17}" type="sibTrans" cxnId="{9BCE7584-AD25-44A0-8A7C-60A78DAA8CAF}">
      <dgm:prSet/>
      <dgm:spPr/>
      <dgm:t>
        <a:bodyPr/>
        <a:lstStyle/>
        <a:p>
          <a:endParaRPr lang="en-US"/>
        </a:p>
      </dgm:t>
    </dgm:pt>
    <dgm:pt modelId="{9B9F5A82-F837-4AC3-8608-3EC0AD459BAE}">
      <dgm:prSet phldrT="[Text]" custT="1"/>
      <dgm:spPr/>
      <dgm:t>
        <a:bodyPr/>
        <a:lstStyle/>
        <a:p>
          <a:r>
            <a:rPr lang="en-US" sz="1100" dirty="0" smtClean="0"/>
            <a:t>Step 3</a:t>
          </a:r>
          <a:endParaRPr lang="en-US" sz="1100" dirty="0"/>
        </a:p>
      </dgm:t>
    </dgm:pt>
    <dgm:pt modelId="{36FF506E-559F-42CF-AD6C-999D5C9E9BEB}" type="parTrans" cxnId="{D5760AC7-9A79-45C8-B998-973B624D88FC}">
      <dgm:prSet/>
      <dgm:spPr/>
      <dgm:t>
        <a:bodyPr/>
        <a:lstStyle/>
        <a:p>
          <a:endParaRPr lang="en-US"/>
        </a:p>
      </dgm:t>
    </dgm:pt>
    <dgm:pt modelId="{F4D30E5C-AAA0-4ED6-B352-C5455456B3EA}" type="sibTrans" cxnId="{D5760AC7-9A79-45C8-B998-973B624D88FC}">
      <dgm:prSet/>
      <dgm:spPr/>
      <dgm:t>
        <a:bodyPr/>
        <a:lstStyle/>
        <a:p>
          <a:endParaRPr lang="en-US"/>
        </a:p>
      </dgm:t>
    </dgm:pt>
    <dgm:pt modelId="{7E33C178-B540-4F04-8002-AC8BB8C67170}">
      <dgm:prSet phldrT="[Text]" custT="1"/>
      <dgm:spPr/>
      <dgm:t>
        <a:bodyPr/>
        <a:lstStyle/>
        <a:p>
          <a:r>
            <a:rPr lang="en-US" sz="1400" dirty="0" smtClean="0"/>
            <a:t>Beneficiaries</a:t>
          </a:r>
          <a:r>
            <a:rPr lang="en-US" sz="1400" baseline="0" dirty="0" smtClean="0"/>
            <a:t> are mapped with agency.</a:t>
          </a:r>
          <a:endParaRPr lang="en-US" sz="1400" dirty="0"/>
        </a:p>
      </dgm:t>
    </dgm:pt>
    <dgm:pt modelId="{13C3AA49-5360-422A-BA85-7BBF229872EF}" type="parTrans" cxnId="{EA88B234-B1BF-46FA-9944-1B3A08887269}">
      <dgm:prSet/>
      <dgm:spPr/>
      <dgm:t>
        <a:bodyPr/>
        <a:lstStyle/>
        <a:p>
          <a:endParaRPr lang="en-US"/>
        </a:p>
      </dgm:t>
    </dgm:pt>
    <dgm:pt modelId="{01A2BA64-717C-43B4-B7D3-8F596A16C900}" type="sibTrans" cxnId="{EA88B234-B1BF-46FA-9944-1B3A08887269}">
      <dgm:prSet/>
      <dgm:spPr/>
      <dgm:t>
        <a:bodyPr/>
        <a:lstStyle/>
        <a:p>
          <a:endParaRPr lang="en-US"/>
        </a:p>
      </dgm:t>
    </dgm:pt>
    <dgm:pt modelId="{D1ED0B0E-FB9C-4735-BCD8-8E633FB252F2}">
      <dgm:prSet phldrT="[Text]" custT="1"/>
      <dgm:spPr/>
      <dgm:t>
        <a:bodyPr/>
        <a:lstStyle/>
        <a:p>
          <a:r>
            <a:rPr lang="en-US" sz="1100" dirty="0" smtClean="0"/>
            <a:t>Step 5</a:t>
          </a:r>
          <a:endParaRPr lang="en-US" sz="1100" dirty="0"/>
        </a:p>
      </dgm:t>
    </dgm:pt>
    <dgm:pt modelId="{2222BF0D-CB48-444F-BFBD-AE931AFF043B}" type="parTrans" cxnId="{1AA34ED2-7A55-4FD8-8F76-91E251662000}">
      <dgm:prSet/>
      <dgm:spPr/>
      <dgm:t>
        <a:bodyPr/>
        <a:lstStyle/>
        <a:p>
          <a:endParaRPr lang="en-US"/>
        </a:p>
      </dgm:t>
    </dgm:pt>
    <dgm:pt modelId="{CAD12A2E-584D-4943-BF50-01A1FE7DB8E1}" type="sibTrans" cxnId="{1AA34ED2-7A55-4FD8-8F76-91E251662000}">
      <dgm:prSet/>
      <dgm:spPr/>
      <dgm:t>
        <a:bodyPr/>
        <a:lstStyle/>
        <a:p>
          <a:endParaRPr lang="en-US"/>
        </a:p>
      </dgm:t>
    </dgm:pt>
    <dgm:pt modelId="{D7246239-BD6F-4C92-B650-4A87DF59E32D}">
      <dgm:prSet phldrT="[Text]" custT="1"/>
      <dgm:spPr/>
      <dgm:t>
        <a:bodyPr/>
        <a:lstStyle/>
        <a:p>
          <a:r>
            <a:rPr lang="en-US" sz="1100" dirty="0" smtClean="0"/>
            <a:t>Step 4</a:t>
          </a:r>
          <a:endParaRPr lang="en-US" sz="1100" dirty="0"/>
        </a:p>
      </dgm:t>
    </dgm:pt>
    <dgm:pt modelId="{0426F9DE-FD07-44AE-BF82-7617A58C8BEB}" type="parTrans" cxnId="{453CF48D-86CB-4DB9-880C-F43DA36D26A6}">
      <dgm:prSet/>
      <dgm:spPr/>
      <dgm:t>
        <a:bodyPr/>
        <a:lstStyle/>
        <a:p>
          <a:endParaRPr lang="en-US"/>
        </a:p>
      </dgm:t>
    </dgm:pt>
    <dgm:pt modelId="{BF66A3A5-4222-4189-8ABA-B1319768F4A3}" type="sibTrans" cxnId="{453CF48D-86CB-4DB9-880C-F43DA36D26A6}">
      <dgm:prSet/>
      <dgm:spPr/>
      <dgm:t>
        <a:bodyPr/>
        <a:lstStyle/>
        <a:p>
          <a:endParaRPr lang="en-US"/>
        </a:p>
      </dgm:t>
    </dgm:pt>
    <dgm:pt modelId="{D652E00C-FD30-4336-827B-F32143FF43F2}">
      <dgm:prSet phldrT="[Text]" custT="1"/>
      <dgm:spPr/>
      <dgm:t>
        <a:bodyPr/>
        <a:lstStyle/>
        <a:p>
          <a:r>
            <a:rPr lang="en-US" sz="1400" dirty="0" smtClean="0"/>
            <a:t>Agency Operator verifies / updates beneficiary data and enters bank account information.</a:t>
          </a:r>
          <a:endParaRPr lang="en-US" sz="1400" dirty="0"/>
        </a:p>
      </dgm:t>
    </dgm:pt>
    <dgm:pt modelId="{D485D995-7ECC-4DBC-96F5-F4526751AF27}" type="parTrans" cxnId="{76752495-3FE0-4E05-9A44-B2D21CD6F244}">
      <dgm:prSet/>
      <dgm:spPr/>
      <dgm:t>
        <a:bodyPr/>
        <a:lstStyle/>
        <a:p>
          <a:endParaRPr lang="en-US"/>
        </a:p>
      </dgm:t>
    </dgm:pt>
    <dgm:pt modelId="{9398EF4F-CDBE-4C2A-9E96-B26CDEABDBA5}" type="sibTrans" cxnId="{76752495-3FE0-4E05-9A44-B2D21CD6F244}">
      <dgm:prSet/>
      <dgm:spPr/>
      <dgm:t>
        <a:bodyPr/>
        <a:lstStyle/>
        <a:p>
          <a:endParaRPr lang="en-US"/>
        </a:p>
      </dgm:t>
    </dgm:pt>
    <dgm:pt modelId="{7FEBE826-8688-4D9D-B2A7-363A2CE53A0B}">
      <dgm:prSet phldrT="[Text]" custT="1"/>
      <dgm:spPr/>
      <dgm:t>
        <a:bodyPr/>
        <a:lstStyle/>
        <a:p>
          <a:r>
            <a:rPr lang="en-US" sz="1400" dirty="0" smtClean="0"/>
            <a:t>Bank account information validated by bank and sent to PFMS.</a:t>
          </a:r>
          <a:endParaRPr lang="en-US" sz="1400" dirty="0"/>
        </a:p>
      </dgm:t>
    </dgm:pt>
    <dgm:pt modelId="{4C10C64A-67F5-43FF-81E2-5ECD01F755E5}" type="parTrans" cxnId="{1F1CAF3F-320F-448D-AF97-B7240E83EAE5}">
      <dgm:prSet/>
      <dgm:spPr/>
      <dgm:t>
        <a:bodyPr/>
        <a:lstStyle/>
        <a:p>
          <a:endParaRPr lang="en-US"/>
        </a:p>
      </dgm:t>
    </dgm:pt>
    <dgm:pt modelId="{11D6C8F1-DF4E-41A8-9A41-5CCD485FA92B}" type="sibTrans" cxnId="{1F1CAF3F-320F-448D-AF97-B7240E83EAE5}">
      <dgm:prSet/>
      <dgm:spPr/>
      <dgm:t>
        <a:bodyPr/>
        <a:lstStyle/>
        <a:p>
          <a:endParaRPr lang="en-US"/>
        </a:p>
      </dgm:t>
    </dgm:pt>
    <dgm:pt modelId="{BD0AD698-D2B1-4B2E-8A7B-F29512C64BB0}">
      <dgm:prSet phldrT="[Text]" custT="1"/>
      <dgm:spPr/>
      <dgm:t>
        <a:bodyPr/>
        <a:lstStyle/>
        <a:p>
          <a:r>
            <a:rPr lang="en-US" sz="1100" dirty="0" smtClean="0"/>
            <a:t>Step 6</a:t>
          </a:r>
          <a:endParaRPr lang="en-US" sz="1100" dirty="0"/>
        </a:p>
      </dgm:t>
    </dgm:pt>
    <dgm:pt modelId="{E2396DE7-9C8B-4AB3-981B-4F63A6D20EFB}" type="parTrans" cxnId="{E7594F09-A25E-4E48-9375-6798AB215FC8}">
      <dgm:prSet/>
      <dgm:spPr/>
      <dgm:t>
        <a:bodyPr/>
        <a:lstStyle/>
        <a:p>
          <a:endParaRPr lang="en-US"/>
        </a:p>
      </dgm:t>
    </dgm:pt>
    <dgm:pt modelId="{7196BB2F-22A1-4FA8-B20E-667C991ADFCB}" type="sibTrans" cxnId="{E7594F09-A25E-4E48-9375-6798AB215FC8}">
      <dgm:prSet/>
      <dgm:spPr/>
      <dgm:t>
        <a:bodyPr/>
        <a:lstStyle/>
        <a:p>
          <a:endParaRPr lang="en-US"/>
        </a:p>
      </dgm:t>
    </dgm:pt>
    <dgm:pt modelId="{46BB3FF8-8476-41D8-B9FD-0159C96BF947}">
      <dgm:prSet phldrT="[Text]" custT="1"/>
      <dgm:spPr/>
      <dgm:t>
        <a:bodyPr/>
        <a:lstStyle/>
        <a:p>
          <a:r>
            <a:rPr lang="en-US" sz="1400" dirty="0" smtClean="0"/>
            <a:t>Agency</a:t>
          </a:r>
          <a:r>
            <a:rPr lang="en-US" sz="1400" baseline="0" dirty="0" smtClean="0"/>
            <a:t> operator accepts bank validation or returns original bank details and submits</a:t>
          </a:r>
          <a:endParaRPr lang="en-US" sz="1400" dirty="0"/>
        </a:p>
      </dgm:t>
    </dgm:pt>
    <dgm:pt modelId="{474C3549-ECDE-4F18-94CD-C4A639502CE9}" type="parTrans" cxnId="{60BC68F6-0969-4E40-83E4-800437061996}">
      <dgm:prSet/>
      <dgm:spPr/>
      <dgm:t>
        <a:bodyPr/>
        <a:lstStyle/>
        <a:p>
          <a:endParaRPr lang="en-US"/>
        </a:p>
      </dgm:t>
    </dgm:pt>
    <dgm:pt modelId="{4941422D-5EEF-41A3-B243-6AD316CB4195}" type="sibTrans" cxnId="{60BC68F6-0969-4E40-83E4-800437061996}">
      <dgm:prSet/>
      <dgm:spPr/>
      <dgm:t>
        <a:bodyPr/>
        <a:lstStyle/>
        <a:p>
          <a:endParaRPr lang="en-US"/>
        </a:p>
      </dgm:t>
    </dgm:pt>
    <dgm:pt modelId="{B76DBB5E-DE9A-44B8-96A5-C0153CB7ECEF}">
      <dgm:prSet phldrT="[Text]" custT="1"/>
      <dgm:spPr/>
      <dgm:t>
        <a:bodyPr/>
        <a:lstStyle/>
        <a:p>
          <a:r>
            <a:rPr lang="en-US" sz="1100" dirty="0" smtClean="0"/>
            <a:t>Step 7</a:t>
          </a:r>
          <a:endParaRPr lang="en-US" sz="1100" dirty="0"/>
        </a:p>
      </dgm:t>
    </dgm:pt>
    <dgm:pt modelId="{76DB33AE-AC05-44A7-B49D-EB7E6F88EFA7}" type="parTrans" cxnId="{BD48D2D7-D596-4D77-AB41-82F07CB1AAEA}">
      <dgm:prSet/>
      <dgm:spPr/>
      <dgm:t>
        <a:bodyPr/>
        <a:lstStyle/>
        <a:p>
          <a:endParaRPr lang="en-US"/>
        </a:p>
      </dgm:t>
    </dgm:pt>
    <dgm:pt modelId="{0D3BB257-17B4-4D93-83FF-E5C203CF7455}" type="sibTrans" cxnId="{BD48D2D7-D596-4D77-AB41-82F07CB1AAEA}">
      <dgm:prSet/>
      <dgm:spPr/>
      <dgm:t>
        <a:bodyPr/>
        <a:lstStyle/>
        <a:p>
          <a:endParaRPr lang="en-US"/>
        </a:p>
      </dgm:t>
    </dgm:pt>
    <dgm:pt modelId="{E2341DF5-E628-4BFB-B6C3-396D72D425BE}">
      <dgm:prSet phldrT="[Text]" custT="1"/>
      <dgm:spPr/>
      <dgm:t>
        <a:bodyPr/>
        <a:lstStyle/>
        <a:p>
          <a:r>
            <a:rPr lang="en-US" sz="1400" dirty="0" smtClean="0"/>
            <a:t>Agency approver approves beneficiary</a:t>
          </a:r>
          <a:endParaRPr lang="en-US" sz="1400" dirty="0"/>
        </a:p>
      </dgm:t>
    </dgm:pt>
    <dgm:pt modelId="{8C385702-ED34-4B60-A092-DCA17ABA2A2D}" type="parTrans" cxnId="{8ED5AC89-413A-4609-9DC2-AEFCED829554}">
      <dgm:prSet/>
      <dgm:spPr/>
      <dgm:t>
        <a:bodyPr/>
        <a:lstStyle/>
        <a:p>
          <a:endParaRPr lang="en-US"/>
        </a:p>
      </dgm:t>
    </dgm:pt>
    <dgm:pt modelId="{62D60780-9B39-4066-9844-96E6DA14B841}" type="sibTrans" cxnId="{8ED5AC89-413A-4609-9DC2-AEFCED829554}">
      <dgm:prSet/>
      <dgm:spPr/>
      <dgm:t>
        <a:bodyPr/>
        <a:lstStyle/>
        <a:p>
          <a:endParaRPr lang="en-US"/>
        </a:p>
      </dgm:t>
    </dgm:pt>
    <dgm:pt modelId="{C2BD75A5-44D3-413D-9E28-DCDA22AFCE8F}">
      <dgm:prSet phldrT="[Text]" custT="1"/>
      <dgm:spPr/>
      <dgm:t>
        <a:bodyPr/>
        <a:lstStyle/>
        <a:p>
          <a:r>
            <a:rPr lang="en-US" sz="1100" dirty="0" smtClean="0"/>
            <a:t>Outcome</a:t>
          </a:r>
          <a:endParaRPr lang="en-US" sz="1100" dirty="0"/>
        </a:p>
      </dgm:t>
    </dgm:pt>
    <dgm:pt modelId="{FFCA0A1B-BE50-4207-AFD3-3921282C8783}" type="parTrans" cxnId="{B1D5B160-5A60-46FA-949F-767FC1946E9B}">
      <dgm:prSet/>
      <dgm:spPr/>
      <dgm:t>
        <a:bodyPr/>
        <a:lstStyle/>
        <a:p>
          <a:endParaRPr lang="en-US"/>
        </a:p>
      </dgm:t>
    </dgm:pt>
    <dgm:pt modelId="{D658D6E3-F004-4C90-9CEC-9ACF756DCB93}" type="sibTrans" cxnId="{B1D5B160-5A60-46FA-949F-767FC1946E9B}">
      <dgm:prSet/>
      <dgm:spPr/>
      <dgm:t>
        <a:bodyPr/>
        <a:lstStyle/>
        <a:p>
          <a:endParaRPr lang="en-US"/>
        </a:p>
      </dgm:t>
    </dgm:pt>
    <dgm:pt modelId="{B3547CD6-FCDA-4877-9670-DD114FD6159B}">
      <dgm:prSet phldrT="[Text]" custT="1"/>
      <dgm:spPr/>
      <dgm:t>
        <a:bodyPr/>
        <a:lstStyle/>
        <a:p>
          <a:r>
            <a:rPr lang="en-US" sz="1400" dirty="0" smtClean="0"/>
            <a:t>Beneficiary available for</a:t>
          </a:r>
          <a:r>
            <a:rPr lang="en-US" sz="1400" baseline="0" dirty="0" smtClean="0"/>
            <a:t> PFMS DBT </a:t>
          </a:r>
          <a:r>
            <a:rPr lang="en-US" sz="1400" b="1" baseline="0" dirty="0" smtClean="0"/>
            <a:t>OR</a:t>
          </a:r>
          <a:r>
            <a:rPr lang="en-US" sz="1400" baseline="0" dirty="0" smtClean="0"/>
            <a:t> PFMS HM Event Recording</a:t>
          </a:r>
          <a:endParaRPr lang="en-US" sz="1400" dirty="0"/>
        </a:p>
      </dgm:t>
    </dgm:pt>
    <dgm:pt modelId="{375F1210-7F61-455D-90D2-0403EEECBC00}" type="parTrans" cxnId="{F9E2EFF9-70C6-408B-B4F2-F04B14B3A4BC}">
      <dgm:prSet/>
      <dgm:spPr/>
      <dgm:t>
        <a:bodyPr/>
        <a:lstStyle/>
        <a:p>
          <a:endParaRPr lang="en-US"/>
        </a:p>
      </dgm:t>
    </dgm:pt>
    <dgm:pt modelId="{EAA6496D-B671-4837-888A-B1D3C08CD802}" type="sibTrans" cxnId="{F9E2EFF9-70C6-408B-B4F2-F04B14B3A4BC}">
      <dgm:prSet/>
      <dgm:spPr/>
      <dgm:t>
        <a:bodyPr/>
        <a:lstStyle/>
        <a:p>
          <a:endParaRPr lang="en-US"/>
        </a:p>
      </dgm:t>
    </dgm:pt>
    <dgm:pt modelId="{D4B74570-EE2E-47A4-A9CA-355E2FD2C76D}" type="pres">
      <dgm:prSet presAssocID="{1B5CDF4F-29C0-4DC2-A5C6-549C711C551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1A2F0D2-FA52-4F80-B382-4467825313B0}" type="pres">
      <dgm:prSet presAssocID="{3AD2C6FD-3CB4-43D0-A1C1-19D3BFCA2FCA}" presName="composite" presStyleCnt="0"/>
      <dgm:spPr/>
    </dgm:pt>
    <dgm:pt modelId="{09E0C369-385D-4690-B53C-7EB895377A6F}" type="pres">
      <dgm:prSet presAssocID="{3AD2C6FD-3CB4-43D0-A1C1-19D3BFCA2FCA}" presName="parentText" presStyleLbl="alignNode1" presStyleIdx="0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1B6C12-7632-4C53-972B-1E043E477974}" type="pres">
      <dgm:prSet presAssocID="{3AD2C6FD-3CB4-43D0-A1C1-19D3BFCA2FCA}" presName="descendantText" presStyleLbl="alignAcc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370325-8119-478F-9E02-C75ED6317B22}" type="pres">
      <dgm:prSet presAssocID="{410544A1-A48B-4601-816D-FCF3915A750B}" presName="sp" presStyleCnt="0"/>
      <dgm:spPr/>
    </dgm:pt>
    <dgm:pt modelId="{B6FC58C6-7795-422C-A299-B9ABF69C4063}" type="pres">
      <dgm:prSet presAssocID="{993566F3-FDD8-4721-AD00-410BF6118B9F}" presName="composite" presStyleCnt="0"/>
      <dgm:spPr/>
    </dgm:pt>
    <dgm:pt modelId="{9F44B02C-2FE7-4CB6-8A3F-A9711256862E}" type="pres">
      <dgm:prSet presAssocID="{993566F3-FDD8-4721-AD00-410BF6118B9F}" presName="parentText" presStyleLbl="alignNode1" presStyleIdx="1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2ECFC8-8FBC-4B80-A789-7BB30C326C43}" type="pres">
      <dgm:prSet presAssocID="{993566F3-FDD8-4721-AD00-410BF6118B9F}" presName="descendantText" presStyleLbl="alignAcc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B2B630-91D7-496F-93ED-2E8BBEBDF23D}" type="pres">
      <dgm:prSet presAssocID="{5D49EC8C-BD83-4555-97FD-D1C0BD2CA616}" presName="sp" presStyleCnt="0"/>
      <dgm:spPr/>
    </dgm:pt>
    <dgm:pt modelId="{3C99A4EB-DB3A-4EE1-8473-F6D468831727}" type="pres">
      <dgm:prSet presAssocID="{9B9F5A82-F837-4AC3-8608-3EC0AD459BAE}" presName="composite" presStyleCnt="0"/>
      <dgm:spPr/>
    </dgm:pt>
    <dgm:pt modelId="{DB9A286D-A358-4631-8B55-DB4ECD184F4C}" type="pres">
      <dgm:prSet presAssocID="{9B9F5A82-F837-4AC3-8608-3EC0AD459BAE}" presName="parentText" presStyleLbl="alignNode1" presStyleIdx="2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83C80F-7AB0-4618-9B4F-21BBFA085DD3}" type="pres">
      <dgm:prSet presAssocID="{9B9F5A82-F837-4AC3-8608-3EC0AD459BAE}" presName="descendantText" presStyleLbl="alignAcc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71CB6B1-89DC-459D-BCAD-B282A3A7DFB2}" type="pres">
      <dgm:prSet presAssocID="{F4D30E5C-AAA0-4ED6-B352-C5455456B3EA}" presName="sp" presStyleCnt="0"/>
      <dgm:spPr/>
    </dgm:pt>
    <dgm:pt modelId="{9AF79126-639D-4501-B59F-DF7D0E12A61C}" type="pres">
      <dgm:prSet presAssocID="{D7246239-BD6F-4C92-B650-4A87DF59E32D}" presName="composite" presStyleCnt="0"/>
      <dgm:spPr/>
    </dgm:pt>
    <dgm:pt modelId="{535F204C-AC4E-46DC-9F26-D690F0113CCC}" type="pres">
      <dgm:prSet presAssocID="{D7246239-BD6F-4C92-B650-4A87DF59E32D}" presName="parentText" presStyleLbl="alignNode1" presStyleIdx="3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DAB9B4-1BCC-4D53-B2FC-B6E3E338B457}" type="pres">
      <dgm:prSet presAssocID="{D7246239-BD6F-4C92-B650-4A87DF59E32D}" presName="descendantText" presStyleLbl="alignAcc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DC650A-E0EC-46F0-8E8A-3E0122B0F5BE}" type="pres">
      <dgm:prSet presAssocID="{BF66A3A5-4222-4189-8ABA-B1319768F4A3}" presName="sp" presStyleCnt="0"/>
      <dgm:spPr/>
    </dgm:pt>
    <dgm:pt modelId="{ED2555CA-93FF-4D52-9389-481FCC9D4A75}" type="pres">
      <dgm:prSet presAssocID="{D1ED0B0E-FB9C-4735-BCD8-8E633FB252F2}" presName="composite" presStyleCnt="0"/>
      <dgm:spPr/>
    </dgm:pt>
    <dgm:pt modelId="{53F3E2A6-6BB8-4FB5-8852-EE01AE1EA209}" type="pres">
      <dgm:prSet presAssocID="{D1ED0B0E-FB9C-4735-BCD8-8E633FB252F2}" presName="parentText" presStyleLbl="alignNode1" presStyleIdx="4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2AC064-F8C2-4A44-9080-C0937C71C213}" type="pres">
      <dgm:prSet presAssocID="{D1ED0B0E-FB9C-4735-BCD8-8E633FB252F2}" presName="descendantText" presStyleLbl="alignAcc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0C1928-5EB2-4C3A-8C11-CC3ACEF9F4F4}" type="pres">
      <dgm:prSet presAssocID="{CAD12A2E-584D-4943-BF50-01A1FE7DB8E1}" presName="sp" presStyleCnt="0"/>
      <dgm:spPr/>
    </dgm:pt>
    <dgm:pt modelId="{1EEF41B0-EFA9-441B-89F5-30F7B3679AD4}" type="pres">
      <dgm:prSet presAssocID="{BD0AD698-D2B1-4B2E-8A7B-F29512C64BB0}" presName="composite" presStyleCnt="0"/>
      <dgm:spPr/>
    </dgm:pt>
    <dgm:pt modelId="{36D262F2-4270-48D9-9DF9-4AB5706E9E10}" type="pres">
      <dgm:prSet presAssocID="{BD0AD698-D2B1-4B2E-8A7B-F29512C64BB0}" presName="parentText" presStyleLbl="alignNode1" presStyleIdx="5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89E2ED-EDEC-4FE7-9907-E07F3B2B7D0C}" type="pres">
      <dgm:prSet presAssocID="{BD0AD698-D2B1-4B2E-8A7B-F29512C64BB0}" presName="descendantText" presStyleLbl="alignAcc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B2F274-6DE6-49D1-A9F4-9BAF40362F55}" type="pres">
      <dgm:prSet presAssocID="{7196BB2F-22A1-4FA8-B20E-667C991ADFCB}" presName="sp" presStyleCnt="0"/>
      <dgm:spPr/>
    </dgm:pt>
    <dgm:pt modelId="{CE65F0E6-233B-41F3-AFE7-19BE28BB85A2}" type="pres">
      <dgm:prSet presAssocID="{B76DBB5E-DE9A-44B8-96A5-C0153CB7ECEF}" presName="composite" presStyleCnt="0"/>
      <dgm:spPr/>
    </dgm:pt>
    <dgm:pt modelId="{C1178323-8C4D-4FAF-B287-9FB666457FB0}" type="pres">
      <dgm:prSet presAssocID="{B76DBB5E-DE9A-44B8-96A5-C0153CB7ECEF}" presName="parentText" presStyleLbl="alignNode1" presStyleIdx="6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7A9D64-ED21-41C1-AD51-AA81B905E35D}" type="pres">
      <dgm:prSet presAssocID="{B76DBB5E-DE9A-44B8-96A5-C0153CB7ECEF}" presName="descendantText" presStyleLbl="alignAcc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2E8EB0-E8EB-453A-B161-3FE3A1F6D2D2}" type="pres">
      <dgm:prSet presAssocID="{0D3BB257-17B4-4D93-83FF-E5C203CF7455}" presName="sp" presStyleCnt="0"/>
      <dgm:spPr/>
    </dgm:pt>
    <dgm:pt modelId="{FB80EE9C-E4B3-4B5F-A478-4DF0D214D5BA}" type="pres">
      <dgm:prSet presAssocID="{C2BD75A5-44D3-413D-9E28-DCDA22AFCE8F}" presName="composite" presStyleCnt="0"/>
      <dgm:spPr/>
    </dgm:pt>
    <dgm:pt modelId="{6FCA32D3-CB26-401E-8BF9-3EAA9CBC150C}" type="pres">
      <dgm:prSet presAssocID="{C2BD75A5-44D3-413D-9E28-DCDA22AFCE8F}" presName="parentText" presStyleLbl="alignNode1" presStyleIdx="7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09CA7D-99D5-4D6C-9AFB-8E9C2FE8C04F}" type="pres">
      <dgm:prSet presAssocID="{C2BD75A5-44D3-413D-9E28-DCDA22AFCE8F}" presName="descendantText" presStyleLbl="alignAcc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BBB3DF-D6FF-4878-92FB-16C31C965B3C}" type="presOf" srcId="{598F2165-401D-48A0-AE52-75A0DD388347}" destId="{E92ECFC8-8FBC-4B80-A789-7BB30C326C43}" srcOrd="0" destOrd="0" presId="urn:microsoft.com/office/officeart/2005/8/layout/chevron2"/>
    <dgm:cxn modelId="{E7B0AC7B-624C-426B-8A75-C191F25977D1}" type="presOf" srcId="{7E33C178-B540-4F04-8002-AC8BB8C67170}" destId="{7583C80F-7AB0-4618-9B4F-21BBFA085DD3}" srcOrd="0" destOrd="0" presId="urn:microsoft.com/office/officeart/2005/8/layout/chevron2"/>
    <dgm:cxn modelId="{9BCE7584-AD25-44A0-8A7C-60A78DAA8CAF}" srcId="{993566F3-FDD8-4721-AD00-410BF6118B9F}" destId="{598F2165-401D-48A0-AE52-75A0DD388347}" srcOrd="0" destOrd="0" parTransId="{AD6D5B95-AAD3-4D86-BEF7-C2CAC7324011}" sibTransId="{47D25312-B6AB-46B2-8CA3-5509AACF1A17}"/>
    <dgm:cxn modelId="{A2649558-4BFD-48AA-978E-A58F489AA7B8}" srcId="{3AD2C6FD-3CB4-43D0-A1C1-19D3BFCA2FCA}" destId="{D6BCB066-6BA2-4935-8DEA-5973CFE4F231}" srcOrd="0" destOrd="0" parTransId="{2D30F413-8742-4135-8744-62A678A37E81}" sibTransId="{E886A5E0-A13A-4C3D-8163-17A195F9B7B8}"/>
    <dgm:cxn modelId="{8ED5AC89-413A-4609-9DC2-AEFCED829554}" srcId="{B76DBB5E-DE9A-44B8-96A5-C0153CB7ECEF}" destId="{E2341DF5-E628-4BFB-B6C3-396D72D425BE}" srcOrd="0" destOrd="0" parTransId="{8C385702-ED34-4B60-A092-DCA17ABA2A2D}" sibTransId="{62D60780-9B39-4066-9844-96E6DA14B841}"/>
    <dgm:cxn modelId="{895A25D6-4E10-43BE-BC74-93180547534B}" type="presOf" srcId="{9B9F5A82-F837-4AC3-8608-3EC0AD459BAE}" destId="{DB9A286D-A358-4631-8B55-DB4ECD184F4C}" srcOrd="0" destOrd="0" presId="urn:microsoft.com/office/officeart/2005/8/layout/chevron2"/>
    <dgm:cxn modelId="{B1D5B160-5A60-46FA-949F-767FC1946E9B}" srcId="{1B5CDF4F-29C0-4DC2-A5C6-549C711C551B}" destId="{C2BD75A5-44D3-413D-9E28-DCDA22AFCE8F}" srcOrd="7" destOrd="0" parTransId="{FFCA0A1B-BE50-4207-AFD3-3921282C8783}" sibTransId="{D658D6E3-F004-4C90-9CEC-9ACF756DCB93}"/>
    <dgm:cxn modelId="{F9E2EFF9-70C6-408B-B4F2-F04B14B3A4BC}" srcId="{C2BD75A5-44D3-413D-9E28-DCDA22AFCE8F}" destId="{B3547CD6-FCDA-4877-9670-DD114FD6159B}" srcOrd="0" destOrd="0" parTransId="{375F1210-7F61-455D-90D2-0403EEECBC00}" sibTransId="{EAA6496D-B671-4837-888A-B1D3C08CD802}"/>
    <dgm:cxn modelId="{058F0123-421D-45C8-819D-FC0920C5A38D}" type="presOf" srcId="{BD0AD698-D2B1-4B2E-8A7B-F29512C64BB0}" destId="{36D262F2-4270-48D9-9DF9-4AB5706E9E10}" srcOrd="0" destOrd="0" presId="urn:microsoft.com/office/officeart/2005/8/layout/chevron2"/>
    <dgm:cxn modelId="{76752495-3FE0-4E05-9A44-B2D21CD6F244}" srcId="{D7246239-BD6F-4C92-B650-4A87DF59E32D}" destId="{D652E00C-FD30-4336-827B-F32143FF43F2}" srcOrd="0" destOrd="0" parTransId="{D485D995-7ECC-4DBC-96F5-F4526751AF27}" sibTransId="{9398EF4F-CDBE-4C2A-9E96-B26CDEABDBA5}"/>
    <dgm:cxn modelId="{1AA34ED2-7A55-4FD8-8F76-91E251662000}" srcId="{1B5CDF4F-29C0-4DC2-A5C6-549C711C551B}" destId="{D1ED0B0E-FB9C-4735-BCD8-8E633FB252F2}" srcOrd="4" destOrd="0" parTransId="{2222BF0D-CB48-444F-BFBD-AE931AFF043B}" sibTransId="{CAD12A2E-584D-4943-BF50-01A1FE7DB8E1}"/>
    <dgm:cxn modelId="{1F1CAF3F-320F-448D-AF97-B7240E83EAE5}" srcId="{D1ED0B0E-FB9C-4735-BCD8-8E633FB252F2}" destId="{7FEBE826-8688-4D9D-B2A7-363A2CE53A0B}" srcOrd="0" destOrd="0" parTransId="{4C10C64A-67F5-43FF-81E2-5ECD01F755E5}" sibTransId="{11D6C8F1-DF4E-41A8-9A41-5CCD485FA92B}"/>
    <dgm:cxn modelId="{BD28EB8D-0488-44E1-9E81-760304FD5596}" type="presOf" srcId="{B76DBB5E-DE9A-44B8-96A5-C0153CB7ECEF}" destId="{C1178323-8C4D-4FAF-B287-9FB666457FB0}" srcOrd="0" destOrd="0" presId="urn:microsoft.com/office/officeart/2005/8/layout/chevron2"/>
    <dgm:cxn modelId="{17120890-8179-4F14-A6FE-1E834860D3AA}" type="presOf" srcId="{7FEBE826-8688-4D9D-B2A7-363A2CE53A0B}" destId="{D22AC064-F8C2-4A44-9080-C0937C71C213}" srcOrd="0" destOrd="0" presId="urn:microsoft.com/office/officeart/2005/8/layout/chevron2"/>
    <dgm:cxn modelId="{EA88B234-B1BF-46FA-9944-1B3A08887269}" srcId="{9B9F5A82-F837-4AC3-8608-3EC0AD459BAE}" destId="{7E33C178-B540-4F04-8002-AC8BB8C67170}" srcOrd="0" destOrd="0" parTransId="{13C3AA49-5360-422A-BA85-7BBF229872EF}" sibTransId="{01A2BA64-717C-43B4-B7D3-8F596A16C900}"/>
    <dgm:cxn modelId="{E7594F09-A25E-4E48-9375-6798AB215FC8}" srcId="{1B5CDF4F-29C0-4DC2-A5C6-549C711C551B}" destId="{BD0AD698-D2B1-4B2E-8A7B-F29512C64BB0}" srcOrd="5" destOrd="0" parTransId="{E2396DE7-9C8B-4AB3-981B-4F63A6D20EFB}" sibTransId="{7196BB2F-22A1-4FA8-B20E-667C991ADFCB}"/>
    <dgm:cxn modelId="{87CF7909-DA92-4F54-BF5A-0C2D789E3B89}" type="presOf" srcId="{3AD2C6FD-3CB4-43D0-A1C1-19D3BFCA2FCA}" destId="{09E0C369-385D-4690-B53C-7EB895377A6F}" srcOrd="0" destOrd="0" presId="urn:microsoft.com/office/officeart/2005/8/layout/chevron2"/>
    <dgm:cxn modelId="{C334BAA6-C914-4FDD-AE64-DB66F7C124AB}" srcId="{1B5CDF4F-29C0-4DC2-A5C6-549C711C551B}" destId="{993566F3-FDD8-4721-AD00-410BF6118B9F}" srcOrd="1" destOrd="0" parTransId="{42CA2DBD-3383-4AD4-B5A0-07939FE0D756}" sibTransId="{5D49EC8C-BD83-4555-97FD-D1C0BD2CA616}"/>
    <dgm:cxn modelId="{767268EC-E745-4BEE-A435-66229830FA96}" type="presOf" srcId="{D7246239-BD6F-4C92-B650-4A87DF59E32D}" destId="{535F204C-AC4E-46DC-9F26-D690F0113CCC}" srcOrd="0" destOrd="0" presId="urn:microsoft.com/office/officeart/2005/8/layout/chevron2"/>
    <dgm:cxn modelId="{8745D326-E68E-4EB7-BB1D-0D424F0AB909}" type="presOf" srcId="{D652E00C-FD30-4336-827B-F32143FF43F2}" destId="{EDDAB9B4-1BCC-4D53-B2FC-B6E3E338B457}" srcOrd="0" destOrd="0" presId="urn:microsoft.com/office/officeart/2005/8/layout/chevron2"/>
    <dgm:cxn modelId="{BD48D2D7-D596-4D77-AB41-82F07CB1AAEA}" srcId="{1B5CDF4F-29C0-4DC2-A5C6-549C711C551B}" destId="{B76DBB5E-DE9A-44B8-96A5-C0153CB7ECEF}" srcOrd="6" destOrd="0" parTransId="{76DB33AE-AC05-44A7-B49D-EB7E6F88EFA7}" sibTransId="{0D3BB257-17B4-4D93-83FF-E5C203CF7455}"/>
    <dgm:cxn modelId="{453CF48D-86CB-4DB9-880C-F43DA36D26A6}" srcId="{1B5CDF4F-29C0-4DC2-A5C6-549C711C551B}" destId="{D7246239-BD6F-4C92-B650-4A87DF59E32D}" srcOrd="3" destOrd="0" parTransId="{0426F9DE-FD07-44AE-BF82-7617A58C8BEB}" sibTransId="{BF66A3A5-4222-4189-8ABA-B1319768F4A3}"/>
    <dgm:cxn modelId="{587A6D2B-D5FB-4AAA-9F00-AB4BCA89A56B}" type="presOf" srcId="{D6BCB066-6BA2-4935-8DEA-5973CFE4F231}" destId="{0D1B6C12-7632-4C53-972B-1E043E477974}" srcOrd="0" destOrd="0" presId="urn:microsoft.com/office/officeart/2005/8/layout/chevron2"/>
    <dgm:cxn modelId="{00B0992B-DF0B-421D-982F-37FAD10743D0}" type="presOf" srcId="{993566F3-FDD8-4721-AD00-410BF6118B9F}" destId="{9F44B02C-2FE7-4CB6-8A3F-A9711256862E}" srcOrd="0" destOrd="0" presId="urn:microsoft.com/office/officeart/2005/8/layout/chevron2"/>
    <dgm:cxn modelId="{29981F08-2759-4516-8B40-43BFF00CC161}" type="presOf" srcId="{B3547CD6-FCDA-4877-9670-DD114FD6159B}" destId="{7A09CA7D-99D5-4D6C-9AFB-8E9C2FE8C04F}" srcOrd="0" destOrd="0" presId="urn:microsoft.com/office/officeart/2005/8/layout/chevron2"/>
    <dgm:cxn modelId="{60BC68F6-0969-4E40-83E4-800437061996}" srcId="{BD0AD698-D2B1-4B2E-8A7B-F29512C64BB0}" destId="{46BB3FF8-8476-41D8-B9FD-0159C96BF947}" srcOrd="0" destOrd="0" parTransId="{474C3549-ECDE-4F18-94CD-C4A639502CE9}" sibTransId="{4941422D-5EEF-41A3-B243-6AD316CB4195}"/>
    <dgm:cxn modelId="{A9761314-800B-440B-8C40-38B2945A0D4B}" type="presOf" srcId="{E2341DF5-E628-4BFB-B6C3-396D72D425BE}" destId="{E17A9D64-ED21-41C1-AD51-AA81B905E35D}" srcOrd="0" destOrd="0" presId="urn:microsoft.com/office/officeart/2005/8/layout/chevron2"/>
    <dgm:cxn modelId="{D5760AC7-9A79-45C8-B998-973B624D88FC}" srcId="{1B5CDF4F-29C0-4DC2-A5C6-549C711C551B}" destId="{9B9F5A82-F837-4AC3-8608-3EC0AD459BAE}" srcOrd="2" destOrd="0" parTransId="{36FF506E-559F-42CF-AD6C-999D5C9E9BEB}" sibTransId="{F4D30E5C-AAA0-4ED6-B352-C5455456B3EA}"/>
    <dgm:cxn modelId="{4B0D8A68-8577-4FD0-B3A3-0CC8D2FE930E}" type="presOf" srcId="{46BB3FF8-8476-41D8-B9FD-0159C96BF947}" destId="{8489E2ED-EDEC-4FE7-9907-E07F3B2B7D0C}" srcOrd="0" destOrd="0" presId="urn:microsoft.com/office/officeart/2005/8/layout/chevron2"/>
    <dgm:cxn modelId="{73FFD6FC-A9CE-4276-852E-208F36B786E2}" type="presOf" srcId="{C2BD75A5-44D3-413D-9E28-DCDA22AFCE8F}" destId="{6FCA32D3-CB26-401E-8BF9-3EAA9CBC150C}" srcOrd="0" destOrd="0" presId="urn:microsoft.com/office/officeart/2005/8/layout/chevron2"/>
    <dgm:cxn modelId="{59171260-A2A1-4DA0-808B-531CA02A249B}" srcId="{1B5CDF4F-29C0-4DC2-A5C6-549C711C551B}" destId="{3AD2C6FD-3CB4-43D0-A1C1-19D3BFCA2FCA}" srcOrd="0" destOrd="0" parTransId="{DC143F3B-9C46-4F15-BEE7-B959E923A4C0}" sibTransId="{410544A1-A48B-4601-816D-FCF3915A750B}"/>
    <dgm:cxn modelId="{FFB2B497-1E3D-4AF8-AF57-7498C26220DA}" type="presOf" srcId="{D1ED0B0E-FB9C-4735-BCD8-8E633FB252F2}" destId="{53F3E2A6-6BB8-4FB5-8852-EE01AE1EA209}" srcOrd="0" destOrd="0" presId="urn:microsoft.com/office/officeart/2005/8/layout/chevron2"/>
    <dgm:cxn modelId="{03FCDB9F-B2EF-49CA-B55E-AF82148F2215}" type="presOf" srcId="{1B5CDF4F-29C0-4DC2-A5C6-549C711C551B}" destId="{D4B74570-EE2E-47A4-A9CA-355E2FD2C76D}" srcOrd="0" destOrd="0" presId="urn:microsoft.com/office/officeart/2005/8/layout/chevron2"/>
    <dgm:cxn modelId="{1BDA578D-58C5-4C1E-BD50-B90B22B9BECE}" type="presParOf" srcId="{D4B74570-EE2E-47A4-A9CA-355E2FD2C76D}" destId="{F1A2F0D2-FA52-4F80-B382-4467825313B0}" srcOrd="0" destOrd="0" presId="urn:microsoft.com/office/officeart/2005/8/layout/chevron2"/>
    <dgm:cxn modelId="{4872CD99-B93B-4F53-9845-622F57CC7861}" type="presParOf" srcId="{F1A2F0D2-FA52-4F80-B382-4467825313B0}" destId="{09E0C369-385D-4690-B53C-7EB895377A6F}" srcOrd="0" destOrd="0" presId="urn:microsoft.com/office/officeart/2005/8/layout/chevron2"/>
    <dgm:cxn modelId="{03772073-C517-471C-87DC-AFF768270E27}" type="presParOf" srcId="{F1A2F0D2-FA52-4F80-B382-4467825313B0}" destId="{0D1B6C12-7632-4C53-972B-1E043E477974}" srcOrd="1" destOrd="0" presId="urn:microsoft.com/office/officeart/2005/8/layout/chevron2"/>
    <dgm:cxn modelId="{AA642A99-7E70-4BE9-A9C0-790DA1CBE9A6}" type="presParOf" srcId="{D4B74570-EE2E-47A4-A9CA-355E2FD2C76D}" destId="{8E370325-8119-478F-9E02-C75ED6317B22}" srcOrd="1" destOrd="0" presId="urn:microsoft.com/office/officeart/2005/8/layout/chevron2"/>
    <dgm:cxn modelId="{8F0BF8B3-B128-4A08-9942-DB3ACE0B55A5}" type="presParOf" srcId="{D4B74570-EE2E-47A4-A9CA-355E2FD2C76D}" destId="{B6FC58C6-7795-422C-A299-B9ABF69C4063}" srcOrd="2" destOrd="0" presId="urn:microsoft.com/office/officeart/2005/8/layout/chevron2"/>
    <dgm:cxn modelId="{954C5958-FFDB-4569-8F7B-956A36F4AAB0}" type="presParOf" srcId="{B6FC58C6-7795-422C-A299-B9ABF69C4063}" destId="{9F44B02C-2FE7-4CB6-8A3F-A9711256862E}" srcOrd="0" destOrd="0" presId="urn:microsoft.com/office/officeart/2005/8/layout/chevron2"/>
    <dgm:cxn modelId="{0D8DB391-C6D9-45FD-9306-470DF12F03D8}" type="presParOf" srcId="{B6FC58C6-7795-422C-A299-B9ABF69C4063}" destId="{E92ECFC8-8FBC-4B80-A789-7BB30C326C43}" srcOrd="1" destOrd="0" presId="urn:microsoft.com/office/officeart/2005/8/layout/chevron2"/>
    <dgm:cxn modelId="{F3254BE6-94B9-463D-A555-ABB9959B2CDB}" type="presParOf" srcId="{D4B74570-EE2E-47A4-A9CA-355E2FD2C76D}" destId="{C4B2B630-91D7-496F-93ED-2E8BBEBDF23D}" srcOrd="3" destOrd="0" presId="urn:microsoft.com/office/officeart/2005/8/layout/chevron2"/>
    <dgm:cxn modelId="{FC59EAC0-3E6D-46F3-85F9-5BAE89DD1102}" type="presParOf" srcId="{D4B74570-EE2E-47A4-A9CA-355E2FD2C76D}" destId="{3C99A4EB-DB3A-4EE1-8473-F6D468831727}" srcOrd="4" destOrd="0" presId="urn:microsoft.com/office/officeart/2005/8/layout/chevron2"/>
    <dgm:cxn modelId="{6EC4ABF5-0121-4B9E-BE49-6CEDC8F0DAE8}" type="presParOf" srcId="{3C99A4EB-DB3A-4EE1-8473-F6D468831727}" destId="{DB9A286D-A358-4631-8B55-DB4ECD184F4C}" srcOrd="0" destOrd="0" presId="urn:microsoft.com/office/officeart/2005/8/layout/chevron2"/>
    <dgm:cxn modelId="{3442C10D-DECD-4F86-87A8-C5EE04CEA31D}" type="presParOf" srcId="{3C99A4EB-DB3A-4EE1-8473-F6D468831727}" destId="{7583C80F-7AB0-4618-9B4F-21BBFA085DD3}" srcOrd="1" destOrd="0" presId="urn:microsoft.com/office/officeart/2005/8/layout/chevron2"/>
    <dgm:cxn modelId="{C393819B-9CCA-420A-BAB9-D0479321D9F7}" type="presParOf" srcId="{D4B74570-EE2E-47A4-A9CA-355E2FD2C76D}" destId="{271CB6B1-89DC-459D-BCAD-B282A3A7DFB2}" srcOrd="5" destOrd="0" presId="urn:microsoft.com/office/officeart/2005/8/layout/chevron2"/>
    <dgm:cxn modelId="{ADD9EFD8-24BD-40DB-B0A9-CD5AF01BC2EF}" type="presParOf" srcId="{D4B74570-EE2E-47A4-A9CA-355E2FD2C76D}" destId="{9AF79126-639D-4501-B59F-DF7D0E12A61C}" srcOrd="6" destOrd="0" presId="urn:microsoft.com/office/officeart/2005/8/layout/chevron2"/>
    <dgm:cxn modelId="{8CFF17B8-EC2A-491E-A0A3-E79C4ADDFC3D}" type="presParOf" srcId="{9AF79126-639D-4501-B59F-DF7D0E12A61C}" destId="{535F204C-AC4E-46DC-9F26-D690F0113CCC}" srcOrd="0" destOrd="0" presId="urn:microsoft.com/office/officeart/2005/8/layout/chevron2"/>
    <dgm:cxn modelId="{32D48424-9375-4C89-8CCE-7FC1DBFBD537}" type="presParOf" srcId="{9AF79126-639D-4501-B59F-DF7D0E12A61C}" destId="{EDDAB9B4-1BCC-4D53-B2FC-B6E3E338B457}" srcOrd="1" destOrd="0" presId="urn:microsoft.com/office/officeart/2005/8/layout/chevron2"/>
    <dgm:cxn modelId="{B4F1AA15-EF83-4F91-A16D-7529A1778011}" type="presParOf" srcId="{D4B74570-EE2E-47A4-A9CA-355E2FD2C76D}" destId="{22DC650A-E0EC-46F0-8E8A-3E0122B0F5BE}" srcOrd="7" destOrd="0" presId="urn:microsoft.com/office/officeart/2005/8/layout/chevron2"/>
    <dgm:cxn modelId="{71B07BA2-F55A-4EBB-9274-2BAD922D45C3}" type="presParOf" srcId="{D4B74570-EE2E-47A4-A9CA-355E2FD2C76D}" destId="{ED2555CA-93FF-4D52-9389-481FCC9D4A75}" srcOrd="8" destOrd="0" presId="urn:microsoft.com/office/officeart/2005/8/layout/chevron2"/>
    <dgm:cxn modelId="{17C3CB62-8E4C-4F10-AF93-F989CD67DB8E}" type="presParOf" srcId="{ED2555CA-93FF-4D52-9389-481FCC9D4A75}" destId="{53F3E2A6-6BB8-4FB5-8852-EE01AE1EA209}" srcOrd="0" destOrd="0" presId="urn:microsoft.com/office/officeart/2005/8/layout/chevron2"/>
    <dgm:cxn modelId="{EC25C365-EAB0-47A2-8385-60BB4ADD9364}" type="presParOf" srcId="{ED2555CA-93FF-4D52-9389-481FCC9D4A75}" destId="{D22AC064-F8C2-4A44-9080-C0937C71C213}" srcOrd="1" destOrd="0" presId="urn:microsoft.com/office/officeart/2005/8/layout/chevron2"/>
    <dgm:cxn modelId="{E4F88B9B-8756-4473-B063-FC7D3E58042C}" type="presParOf" srcId="{D4B74570-EE2E-47A4-A9CA-355E2FD2C76D}" destId="{880C1928-5EB2-4C3A-8C11-CC3ACEF9F4F4}" srcOrd="9" destOrd="0" presId="urn:microsoft.com/office/officeart/2005/8/layout/chevron2"/>
    <dgm:cxn modelId="{1B134AC2-C7C7-4263-AB8C-41ED34646F7E}" type="presParOf" srcId="{D4B74570-EE2E-47A4-A9CA-355E2FD2C76D}" destId="{1EEF41B0-EFA9-441B-89F5-30F7B3679AD4}" srcOrd="10" destOrd="0" presId="urn:microsoft.com/office/officeart/2005/8/layout/chevron2"/>
    <dgm:cxn modelId="{1E4097E5-2375-42AD-BCB3-332A6DBB5D40}" type="presParOf" srcId="{1EEF41B0-EFA9-441B-89F5-30F7B3679AD4}" destId="{36D262F2-4270-48D9-9DF9-4AB5706E9E10}" srcOrd="0" destOrd="0" presId="urn:microsoft.com/office/officeart/2005/8/layout/chevron2"/>
    <dgm:cxn modelId="{286E472C-15D6-404D-AAC6-9080D666D213}" type="presParOf" srcId="{1EEF41B0-EFA9-441B-89F5-30F7B3679AD4}" destId="{8489E2ED-EDEC-4FE7-9907-E07F3B2B7D0C}" srcOrd="1" destOrd="0" presId="urn:microsoft.com/office/officeart/2005/8/layout/chevron2"/>
    <dgm:cxn modelId="{9E51C6B1-7AD7-43A4-A348-B774204F0DAE}" type="presParOf" srcId="{D4B74570-EE2E-47A4-A9CA-355E2FD2C76D}" destId="{9BB2F274-6DE6-49D1-A9F4-9BAF40362F55}" srcOrd="11" destOrd="0" presId="urn:microsoft.com/office/officeart/2005/8/layout/chevron2"/>
    <dgm:cxn modelId="{6FE1CD67-DAC6-4EBD-AE71-F2E0807BA407}" type="presParOf" srcId="{D4B74570-EE2E-47A4-A9CA-355E2FD2C76D}" destId="{CE65F0E6-233B-41F3-AFE7-19BE28BB85A2}" srcOrd="12" destOrd="0" presId="urn:microsoft.com/office/officeart/2005/8/layout/chevron2"/>
    <dgm:cxn modelId="{71F2D4DD-8F81-4156-B983-CBCBC10D77D5}" type="presParOf" srcId="{CE65F0E6-233B-41F3-AFE7-19BE28BB85A2}" destId="{C1178323-8C4D-4FAF-B287-9FB666457FB0}" srcOrd="0" destOrd="0" presId="urn:microsoft.com/office/officeart/2005/8/layout/chevron2"/>
    <dgm:cxn modelId="{C46A0DE4-6973-4E48-BE4E-171C98290F59}" type="presParOf" srcId="{CE65F0E6-233B-41F3-AFE7-19BE28BB85A2}" destId="{E17A9D64-ED21-41C1-AD51-AA81B905E35D}" srcOrd="1" destOrd="0" presId="urn:microsoft.com/office/officeart/2005/8/layout/chevron2"/>
    <dgm:cxn modelId="{5F179A7D-A444-4827-BFC7-7A21D315B298}" type="presParOf" srcId="{D4B74570-EE2E-47A4-A9CA-355E2FD2C76D}" destId="{DA2E8EB0-E8EB-453A-B161-3FE3A1F6D2D2}" srcOrd="13" destOrd="0" presId="urn:microsoft.com/office/officeart/2005/8/layout/chevron2"/>
    <dgm:cxn modelId="{1C5A0655-D280-41F1-BDDD-F5970C6DAD41}" type="presParOf" srcId="{D4B74570-EE2E-47A4-A9CA-355E2FD2C76D}" destId="{FB80EE9C-E4B3-4B5F-A478-4DF0D214D5BA}" srcOrd="14" destOrd="0" presId="urn:microsoft.com/office/officeart/2005/8/layout/chevron2"/>
    <dgm:cxn modelId="{92A2EE61-1C42-4219-84D4-4CCACD4F9B15}" type="presParOf" srcId="{FB80EE9C-E4B3-4B5F-A478-4DF0D214D5BA}" destId="{6FCA32D3-CB26-401E-8BF9-3EAA9CBC150C}" srcOrd="0" destOrd="0" presId="urn:microsoft.com/office/officeart/2005/8/layout/chevron2"/>
    <dgm:cxn modelId="{B69022E8-E8B1-4427-930B-AED94D8AFC39}" type="presParOf" srcId="{FB80EE9C-E4B3-4B5F-A478-4DF0D214D5BA}" destId="{7A09CA7D-99D5-4D6C-9AFB-8E9C2FE8C04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1FEA274-4F43-4C09-8D43-5E41C7CB6E95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C9EC6F8E-6EA9-4CF3-BAE4-AC763BC64228}">
      <dgm:prSet phldrT="[Text]"/>
      <dgm:spPr/>
      <dgm:t>
        <a:bodyPr/>
        <a:lstStyle/>
        <a:p>
          <a:r>
            <a:rPr lang="en-IN" b="1" dirty="0" smtClean="0"/>
            <a:t>Fund Status</a:t>
          </a:r>
          <a:endParaRPr lang="en-IN" b="1" dirty="0"/>
        </a:p>
      </dgm:t>
    </dgm:pt>
    <dgm:pt modelId="{4EE822D4-A98E-4EED-9ECC-7422D6A2FAF6}" type="parTrans" cxnId="{B408FEDD-0CA1-4DD5-8442-45B3CD53DD9A}">
      <dgm:prSet/>
      <dgm:spPr/>
      <dgm:t>
        <a:bodyPr/>
        <a:lstStyle/>
        <a:p>
          <a:endParaRPr lang="en-IN"/>
        </a:p>
      </dgm:t>
    </dgm:pt>
    <dgm:pt modelId="{1D00242B-FF41-4727-8404-3B339547DC70}" type="sibTrans" cxnId="{B408FEDD-0CA1-4DD5-8442-45B3CD53DD9A}">
      <dgm:prSet/>
      <dgm:spPr/>
      <dgm:t>
        <a:bodyPr/>
        <a:lstStyle/>
        <a:p>
          <a:endParaRPr lang="en-IN"/>
        </a:p>
      </dgm:t>
    </dgm:pt>
    <dgm:pt modelId="{FB176D02-B65E-4737-997B-EFEC96847FFB}">
      <dgm:prSet phldrT="[Text]"/>
      <dgm:spPr/>
      <dgm:t>
        <a:bodyPr/>
        <a:lstStyle/>
        <a:p>
          <a:r>
            <a:rPr lang="en-IN" dirty="0" smtClean="0"/>
            <a:t>PMU can view information regarding the allocation &amp; utilization of funds for beneficiary payments</a:t>
          </a:r>
          <a:endParaRPr lang="en-IN" dirty="0"/>
        </a:p>
      </dgm:t>
    </dgm:pt>
    <dgm:pt modelId="{211BD005-B3A2-43CE-9581-42E09EA0FA96}" type="parTrans" cxnId="{DD9FBFDF-7774-46BE-AEB7-D5143028D64E}">
      <dgm:prSet/>
      <dgm:spPr/>
      <dgm:t>
        <a:bodyPr/>
        <a:lstStyle/>
        <a:p>
          <a:endParaRPr lang="en-IN"/>
        </a:p>
      </dgm:t>
    </dgm:pt>
    <dgm:pt modelId="{6D313FE7-0E06-48E0-A552-CC97CB6F8AE6}" type="sibTrans" cxnId="{DD9FBFDF-7774-46BE-AEB7-D5143028D64E}">
      <dgm:prSet/>
      <dgm:spPr/>
      <dgm:t>
        <a:bodyPr/>
        <a:lstStyle/>
        <a:p>
          <a:endParaRPr lang="en-IN"/>
        </a:p>
      </dgm:t>
    </dgm:pt>
    <dgm:pt modelId="{A29FAA34-A57C-406D-9182-42F4D391B846}">
      <dgm:prSet phldrT="[Text]"/>
      <dgm:spPr/>
      <dgm:t>
        <a:bodyPr/>
        <a:lstStyle/>
        <a:p>
          <a:r>
            <a:rPr lang="en-IN" b="1" dirty="0" smtClean="0"/>
            <a:t>Transaction Processing</a:t>
          </a:r>
          <a:endParaRPr lang="en-IN" b="1" dirty="0"/>
        </a:p>
      </dgm:t>
    </dgm:pt>
    <dgm:pt modelId="{B12D69F3-6CDF-49D3-B31F-EC6D7E019CF6}" type="parTrans" cxnId="{F06DEBA9-5352-4031-8520-987E2A01D25D}">
      <dgm:prSet/>
      <dgm:spPr/>
      <dgm:t>
        <a:bodyPr/>
        <a:lstStyle/>
        <a:p>
          <a:endParaRPr lang="en-IN"/>
        </a:p>
      </dgm:t>
    </dgm:pt>
    <dgm:pt modelId="{41962A6D-ADC7-47BC-B563-561FCDA8DCA3}" type="sibTrans" cxnId="{F06DEBA9-5352-4031-8520-987E2A01D25D}">
      <dgm:prSet/>
      <dgm:spPr/>
      <dgm:t>
        <a:bodyPr/>
        <a:lstStyle/>
        <a:p>
          <a:endParaRPr lang="en-IN"/>
        </a:p>
      </dgm:t>
    </dgm:pt>
    <dgm:pt modelId="{C3D04E9A-6E22-4AEC-B4F1-63700100C343}">
      <dgm:prSet phldrT="[Text]"/>
      <dgm:spPr/>
      <dgm:t>
        <a:bodyPr/>
        <a:lstStyle/>
        <a:p>
          <a:r>
            <a:rPr lang="en-IN" dirty="0" smtClean="0"/>
            <a:t>PMU can view information regarding the processing of events for  selected beneficiary types for the selected FY</a:t>
          </a:r>
          <a:endParaRPr lang="en-IN" dirty="0"/>
        </a:p>
      </dgm:t>
    </dgm:pt>
    <dgm:pt modelId="{B5C9F562-B569-4A60-BF1D-5EA85B403CE6}" type="parTrans" cxnId="{B2EE002F-B1C6-4FE2-B936-8C228517F5CE}">
      <dgm:prSet/>
      <dgm:spPr/>
      <dgm:t>
        <a:bodyPr/>
        <a:lstStyle/>
        <a:p>
          <a:endParaRPr lang="en-IN"/>
        </a:p>
      </dgm:t>
    </dgm:pt>
    <dgm:pt modelId="{67161DEA-5EF7-4D1F-8D2E-5719CCCA98D2}" type="sibTrans" cxnId="{B2EE002F-B1C6-4FE2-B936-8C228517F5CE}">
      <dgm:prSet/>
      <dgm:spPr/>
      <dgm:t>
        <a:bodyPr/>
        <a:lstStyle/>
        <a:p>
          <a:endParaRPr lang="en-IN"/>
        </a:p>
      </dgm:t>
    </dgm:pt>
    <dgm:pt modelId="{94E5E2DF-2CE3-4746-99F6-0E125E0D3859}">
      <dgm:prSet phldrT="[Text]"/>
      <dgm:spPr/>
      <dgm:t>
        <a:bodyPr/>
        <a:lstStyle/>
        <a:p>
          <a:r>
            <a:rPr lang="en-IN" b="1" dirty="0" smtClean="0"/>
            <a:t>Bank Payment Ageing</a:t>
          </a:r>
          <a:endParaRPr lang="en-IN" b="1" dirty="0"/>
        </a:p>
      </dgm:t>
    </dgm:pt>
    <dgm:pt modelId="{306C32F2-AF56-4445-B5D5-29CD1392B38B}" type="parTrans" cxnId="{A4F8DAE2-79FA-455E-BD17-FBF4E01537BB}">
      <dgm:prSet/>
      <dgm:spPr/>
      <dgm:t>
        <a:bodyPr/>
        <a:lstStyle/>
        <a:p>
          <a:endParaRPr lang="en-IN"/>
        </a:p>
      </dgm:t>
    </dgm:pt>
    <dgm:pt modelId="{C6B2082D-BE19-4565-BDE7-7D4DD33CCFCC}" type="sibTrans" cxnId="{A4F8DAE2-79FA-455E-BD17-FBF4E01537BB}">
      <dgm:prSet/>
      <dgm:spPr/>
      <dgm:t>
        <a:bodyPr/>
        <a:lstStyle/>
        <a:p>
          <a:endParaRPr lang="en-IN"/>
        </a:p>
      </dgm:t>
    </dgm:pt>
    <dgm:pt modelId="{3FCFDA8A-6988-48F9-9571-490C85E1E6B9}">
      <dgm:prSet phldrT="[Text]"/>
      <dgm:spPr/>
      <dgm:t>
        <a:bodyPr/>
        <a:lstStyle/>
        <a:p>
          <a:r>
            <a:rPr lang="en-IN" dirty="0" smtClean="0"/>
            <a:t>PMU can view information on ageing of an event to understand time taken between event processing and receiving payments </a:t>
          </a:r>
          <a:endParaRPr lang="en-IN" dirty="0"/>
        </a:p>
      </dgm:t>
    </dgm:pt>
    <dgm:pt modelId="{13F811E9-1DD1-4E9B-BB30-947A555B93D0}" type="parTrans" cxnId="{E470D593-15D0-4D27-ABFF-FE90D0B8114B}">
      <dgm:prSet/>
      <dgm:spPr/>
      <dgm:t>
        <a:bodyPr/>
        <a:lstStyle/>
        <a:p>
          <a:endParaRPr lang="en-IN"/>
        </a:p>
      </dgm:t>
    </dgm:pt>
    <dgm:pt modelId="{01B4AB34-6DC7-4104-A403-045C9CC61C4F}" type="sibTrans" cxnId="{E470D593-15D0-4D27-ABFF-FE90D0B8114B}">
      <dgm:prSet/>
      <dgm:spPr/>
      <dgm:t>
        <a:bodyPr/>
        <a:lstStyle/>
        <a:p>
          <a:endParaRPr lang="en-IN"/>
        </a:p>
      </dgm:t>
    </dgm:pt>
    <dgm:pt modelId="{68A24A68-CD12-4BAA-B7AE-CA54FE382C27}">
      <dgm:prSet/>
      <dgm:spPr/>
      <dgm:t>
        <a:bodyPr/>
        <a:lstStyle/>
        <a:p>
          <a:endParaRPr lang="en-IN" dirty="0"/>
        </a:p>
      </dgm:t>
    </dgm:pt>
    <dgm:pt modelId="{D83CA8DF-FC6E-40CC-B84C-069A73B35090}" type="parTrans" cxnId="{68737656-7710-47C8-B555-8444B9811632}">
      <dgm:prSet/>
      <dgm:spPr/>
      <dgm:t>
        <a:bodyPr/>
        <a:lstStyle/>
        <a:p>
          <a:endParaRPr lang="en-IN"/>
        </a:p>
      </dgm:t>
    </dgm:pt>
    <dgm:pt modelId="{F3EC87EF-65C2-4CF0-80D8-61B2C6EFFDB5}" type="sibTrans" cxnId="{68737656-7710-47C8-B555-8444B9811632}">
      <dgm:prSet/>
      <dgm:spPr/>
      <dgm:t>
        <a:bodyPr/>
        <a:lstStyle/>
        <a:p>
          <a:endParaRPr lang="en-IN"/>
        </a:p>
      </dgm:t>
    </dgm:pt>
    <dgm:pt modelId="{58E093B8-0827-44CF-B102-DDCFF6D1B691}">
      <dgm:prSet/>
      <dgm:spPr/>
      <dgm:t>
        <a:bodyPr/>
        <a:lstStyle/>
        <a:p>
          <a:r>
            <a:rPr lang="en-IN" dirty="0" smtClean="0"/>
            <a:t>Details can be viewed programme &amp; beneficiary wise</a:t>
          </a:r>
          <a:endParaRPr lang="en-IN" dirty="0"/>
        </a:p>
      </dgm:t>
    </dgm:pt>
    <dgm:pt modelId="{909E2E98-462D-4D71-B1DF-828D793604CA}" type="parTrans" cxnId="{8A3E5136-4C6C-43E4-B05C-F9D22389B11F}">
      <dgm:prSet/>
      <dgm:spPr/>
      <dgm:t>
        <a:bodyPr/>
        <a:lstStyle/>
        <a:p>
          <a:endParaRPr lang="en-IN"/>
        </a:p>
      </dgm:t>
    </dgm:pt>
    <dgm:pt modelId="{87538893-173E-4420-8F80-F3404A0D6772}" type="sibTrans" cxnId="{8A3E5136-4C6C-43E4-B05C-F9D22389B11F}">
      <dgm:prSet/>
      <dgm:spPr/>
      <dgm:t>
        <a:bodyPr/>
        <a:lstStyle/>
        <a:p>
          <a:endParaRPr lang="en-IN"/>
        </a:p>
      </dgm:t>
    </dgm:pt>
    <dgm:pt modelId="{5E8FC69B-03F0-4566-80F8-DC62B6A5BCC8}">
      <dgm:prSet/>
      <dgm:spPr/>
      <dgm:t>
        <a:bodyPr/>
        <a:lstStyle/>
        <a:p>
          <a:endParaRPr lang="en-IN"/>
        </a:p>
      </dgm:t>
    </dgm:pt>
    <dgm:pt modelId="{08A299CD-111B-483C-B530-BF76E06BEF06}" type="parTrans" cxnId="{AA0E7558-79D0-4CC8-BC51-1C6FFAA7DA53}">
      <dgm:prSet/>
      <dgm:spPr/>
      <dgm:t>
        <a:bodyPr/>
        <a:lstStyle/>
        <a:p>
          <a:endParaRPr lang="en-IN"/>
        </a:p>
      </dgm:t>
    </dgm:pt>
    <dgm:pt modelId="{98140E4D-C5CE-41BB-BA83-CEE9CD77BABD}" type="sibTrans" cxnId="{AA0E7558-79D0-4CC8-BC51-1C6FFAA7DA53}">
      <dgm:prSet/>
      <dgm:spPr/>
      <dgm:t>
        <a:bodyPr/>
        <a:lstStyle/>
        <a:p>
          <a:endParaRPr lang="en-IN"/>
        </a:p>
      </dgm:t>
    </dgm:pt>
    <dgm:pt modelId="{F00E10D2-7523-449D-9027-17728EBB2989}">
      <dgm:prSet/>
      <dgm:spPr/>
      <dgm:t>
        <a:bodyPr/>
        <a:lstStyle/>
        <a:p>
          <a:r>
            <a:rPr lang="en-IN" dirty="0" smtClean="0"/>
            <a:t>Performance can be monitored </a:t>
          </a:r>
          <a:endParaRPr lang="en-IN" dirty="0"/>
        </a:p>
      </dgm:t>
    </dgm:pt>
    <dgm:pt modelId="{0B51792B-6EC0-447D-AB01-EA639DD4A837}" type="parTrans" cxnId="{1518F75C-2F28-4150-AF13-01B59DCDF5ED}">
      <dgm:prSet/>
      <dgm:spPr/>
      <dgm:t>
        <a:bodyPr/>
        <a:lstStyle/>
        <a:p>
          <a:endParaRPr lang="en-IN"/>
        </a:p>
      </dgm:t>
    </dgm:pt>
    <dgm:pt modelId="{7CC051DB-D412-4064-AD41-BA097C3AB90D}" type="sibTrans" cxnId="{1518F75C-2F28-4150-AF13-01B59DCDF5ED}">
      <dgm:prSet/>
      <dgm:spPr/>
      <dgm:t>
        <a:bodyPr/>
        <a:lstStyle/>
        <a:p>
          <a:endParaRPr lang="en-IN"/>
        </a:p>
      </dgm:t>
    </dgm:pt>
    <dgm:pt modelId="{034A77CB-42B1-4D64-B1C5-1CA5DD343227}">
      <dgm:prSet/>
      <dgm:spPr/>
      <dgm:t>
        <a:bodyPr/>
        <a:lstStyle/>
        <a:p>
          <a:endParaRPr lang="en-IN"/>
        </a:p>
      </dgm:t>
    </dgm:pt>
    <dgm:pt modelId="{A38C1430-3CE3-4B52-A410-704CD9BA3E0F}" type="parTrans" cxnId="{E9D15890-43BB-4BCF-9927-177F292E19A7}">
      <dgm:prSet/>
      <dgm:spPr/>
      <dgm:t>
        <a:bodyPr/>
        <a:lstStyle/>
        <a:p>
          <a:endParaRPr lang="en-IN"/>
        </a:p>
      </dgm:t>
    </dgm:pt>
    <dgm:pt modelId="{884EBF3E-C95B-4A91-8916-5102E9D967FA}" type="sibTrans" cxnId="{E9D15890-43BB-4BCF-9927-177F292E19A7}">
      <dgm:prSet/>
      <dgm:spPr/>
      <dgm:t>
        <a:bodyPr/>
        <a:lstStyle/>
        <a:p>
          <a:endParaRPr lang="en-IN"/>
        </a:p>
      </dgm:t>
    </dgm:pt>
    <dgm:pt modelId="{3154F84F-A4D7-49F9-9D7F-01D55A60EB02}">
      <dgm:prSet/>
      <dgm:spPr/>
      <dgm:t>
        <a:bodyPr/>
        <a:lstStyle/>
        <a:p>
          <a:r>
            <a:rPr lang="en-IN" dirty="0" smtClean="0"/>
            <a:t>Availability of relevant information within PFMS database is a critical requirement for this widget</a:t>
          </a:r>
          <a:endParaRPr lang="en-IN" dirty="0"/>
        </a:p>
      </dgm:t>
    </dgm:pt>
    <dgm:pt modelId="{F06FCF85-BC3A-4494-907B-8ABCCA6FB276}" type="parTrans" cxnId="{65D6CD53-1374-4FF1-9E7A-1AFC92AAFD8F}">
      <dgm:prSet/>
      <dgm:spPr/>
      <dgm:t>
        <a:bodyPr/>
        <a:lstStyle/>
        <a:p>
          <a:endParaRPr lang="en-IN"/>
        </a:p>
      </dgm:t>
    </dgm:pt>
    <dgm:pt modelId="{FD631832-37B8-490F-B0BB-EEE7101D5E0E}" type="sibTrans" cxnId="{65D6CD53-1374-4FF1-9E7A-1AFC92AAFD8F}">
      <dgm:prSet/>
      <dgm:spPr/>
      <dgm:t>
        <a:bodyPr/>
        <a:lstStyle/>
        <a:p>
          <a:endParaRPr lang="en-IN"/>
        </a:p>
      </dgm:t>
    </dgm:pt>
    <dgm:pt modelId="{1509E57A-AE04-48D6-B2B2-33D486AE3E9F}" type="pres">
      <dgm:prSet presAssocID="{D1FEA274-4F43-4C09-8D43-5E41C7CB6E9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A4DA6A1-D98D-4DB1-8D53-7059A3401DB3}" type="pres">
      <dgm:prSet presAssocID="{C9EC6F8E-6EA9-4CF3-BAE4-AC763BC64228}" presName="composite" presStyleCnt="0"/>
      <dgm:spPr/>
    </dgm:pt>
    <dgm:pt modelId="{86203CD1-F251-4F1D-AE8E-018B7792E98A}" type="pres">
      <dgm:prSet presAssocID="{C9EC6F8E-6EA9-4CF3-BAE4-AC763BC6422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F579FAA-CD96-46CC-ADE5-98FC8DD24FD7}" type="pres">
      <dgm:prSet presAssocID="{C9EC6F8E-6EA9-4CF3-BAE4-AC763BC64228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71CE3AE-FF5D-438F-8244-66B61F09F781}" type="pres">
      <dgm:prSet presAssocID="{1D00242B-FF41-4727-8404-3B339547DC70}" presName="space" presStyleCnt="0"/>
      <dgm:spPr/>
    </dgm:pt>
    <dgm:pt modelId="{3D82D7D6-0F30-4523-8E15-844A5958565A}" type="pres">
      <dgm:prSet presAssocID="{A29FAA34-A57C-406D-9182-42F4D391B846}" presName="composite" presStyleCnt="0"/>
      <dgm:spPr/>
    </dgm:pt>
    <dgm:pt modelId="{E0FF8F23-AC09-4D17-80C3-BE1AF65B4416}" type="pres">
      <dgm:prSet presAssocID="{A29FAA34-A57C-406D-9182-42F4D391B846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210537C-00A1-41C5-88B2-F712AA5E5C5E}" type="pres">
      <dgm:prSet presAssocID="{A29FAA34-A57C-406D-9182-42F4D391B846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5C81314-4D0A-4DC4-88FF-F40CD1FD3841}" type="pres">
      <dgm:prSet presAssocID="{41962A6D-ADC7-47BC-B563-561FCDA8DCA3}" presName="space" presStyleCnt="0"/>
      <dgm:spPr/>
    </dgm:pt>
    <dgm:pt modelId="{7919F0B8-A26E-459B-84E3-61798D320171}" type="pres">
      <dgm:prSet presAssocID="{94E5E2DF-2CE3-4746-99F6-0E125E0D3859}" presName="composite" presStyleCnt="0"/>
      <dgm:spPr/>
    </dgm:pt>
    <dgm:pt modelId="{48D1C145-1FCC-44D6-AE75-43FDA3898BD6}" type="pres">
      <dgm:prSet presAssocID="{94E5E2DF-2CE3-4746-99F6-0E125E0D3859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40CBC82-18E1-4FE1-AE1D-84CD6E67B7BE}" type="pres">
      <dgm:prSet presAssocID="{94E5E2DF-2CE3-4746-99F6-0E125E0D3859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CEC60157-4CAB-4748-ACB5-A791EB919146}" type="presOf" srcId="{C3D04E9A-6E22-4AEC-B4F1-63700100C343}" destId="{A210537C-00A1-41C5-88B2-F712AA5E5C5E}" srcOrd="0" destOrd="0" presId="urn:microsoft.com/office/officeart/2005/8/layout/hList1"/>
    <dgm:cxn modelId="{B2EE002F-B1C6-4FE2-B936-8C228517F5CE}" srcId="{A29FAA34-A57C-406D-9182-42F4D391B846}" destId="{C3D04E9A-6E22-4AEC-B4F1-63700100C343}" srcOrd="0" destOrd="0" parTransId="{B5C9F562-B569-4A60-BF1D-5EA85B403CE6}" sibTransId="{67161DEA-5EF7-4D1F-8D2E-5719CCCA98D2}"/>
    <dgm:cxn modelId="{C2C0A991-1898-4034-8154-D89F95CD6970}" type="presOf" srcId="{FB176D02-B65E-4737-997B-EFEC96847FFB}" destId="{3F579FAA-CD96-46CC-ADE5-98FC8DD24FD7}" srcOrd="0" destOrd="0" presId="urn:microsoft.com/office/officeart/2005/8/layout/hList1"/>
    <dgm:cxn modelId="{AA0E7558-79D0-4CC8-BC51-1C6FFAA7DA53}" srcId="{94E5E2DF-2CE3-4746-99F6-0E125E0D3859}" destId="{5E8FC69B-03F0-4566-80F8-DC62B6A5BCC8}" srcOrd="1" destOrd="0" parTransId="{08A299CD-111B-483C-B530-BF76E06BEF06}" sibTransId="{98140E4D-C5CE-41BB-BA83-CEE9CD77BABD}"/>
    <dgm:cxn modelId="{E9D15890-43BB-4BCF-9927-177F292E19A7}" srcId="{C9EC6F8E-6EA9-4CF3-BAE4-AC763BC64228}" destId="{034A77CB-42B1-4D64-B1C5-1CA5DD343227}" srcOrd="1" destOrd="0" parTransId="{A38C1430-3CE3-4B52-A410-704CD9BA3E0F}" sibTransId="{884EBF3E-C95B-4A91-8916-5102E9D967FA}"/>
    <dgm:cxn modelId="{55EE0333-47C8-486C-9A57-E211C7938FFD}" type="presOf" srcId="{A29FAA34-A57C-406D-9182-42F4D391B846}" destId="{E0FF8F23-AC09-4D17-80C3-BE1AF65B4416}" srcOrd="0" destOrd="0" presId="urn:microsoft.com/office/officeart/2005/8/layout/hList1"/>
    <dgm:cxn modelId="{10CCFC86-2C5D-4FFC-9825-C94F391E2B85}" type="presOf" srcId="{58E093B8-0827-44CF-B102-DDCFF6D1B691}" destId="{A210537C-00A1-41C5-88B2-F712AA5E5C5E}" srcOrd="0" destOrd="2" presId="urn:microsoft.com/office/officeart/2005/8/layout/hList1"/>
    <dgm:cxn modelId="{B4E51269-606E-4A83-8397-AD3A868F9D70}" type="presOf" srcId="{F00E10D2-7523-449D-9027-17728EBB2989}" destId="{D40CBC82-18E1-4FE1-AE1D-84CD6E67B7BE}" srcOrd="0" destOrd="2" presId="urn:microsoft.com/office/officeart/2005/8/layout/hList1"/>
    <dgm:cxn modelId="{F06DEBA9-5352-4031-8520-987E2A01D25D}" srcId="{D1FEA274-4F43-4C09-8D43-5E41C7CB6E95}" destId="{A29FAA34-A57C-406D-9182-42F4D391B846}" srcOrd="1" destOrd="0" parTransId="{B12D69F3-6CDF-49D3-B31F-EC6D7E019CF6}" sibTransId="{41962A6D-ADC7-47BC-B563-561FCDA8DCA3}"/>
    <dgm:cxn modelId="{E470D593-15D0-4D27-ABFF-FE90D0B8114B}" srcId="{94E5E2DF-2CE3-4746-99F6-0E125E0D3859}" destId="{3FCFDA8A-6988-48F9-9571-490C85E1E6B9}" srcOrd="0" destOrd="0" parTransId="{13F811E9-1DD1-4E9B-BB30-947A555B93D0}" sibTransId="{01B4AB34-6DC7-4104-A403-045C9CC61C4F}"/>
    <dgm:cxn modelId="{65D6CD53-1374-4FF1-9E7A-1AFC92AAFD8F}" srcId="{C9EC6F8E-6EA9-4CF3-BAE4-AC763BC64228}" destId="{3154F84F-A4D7-49F9-9D7F-01D55A60EB02}" srcOrd="2" destOrd="0" parTransId="{F06FCF85-BC3A-4494-907B-8ABCCA6FB276}" sibTransId="{FD631832-37B8-490F-B0BB-EEE7101D5E0E}"/>
    <dgm:cxn modelId="{38D22BBF-8CFA-4B30-8CAF-B1D979346B72}" type="presOf" srcId="{94E5E2DF-2CE3-4746-99F6-0E125E0D3859}" destId="{48D1C145-1FCC-44D6-AE75-43FDA3898BD6}" srcOrd="0" destOrd="0" presId="urn:microsoft.com/office/officeart/2005/8/layout/hList1"/>
    <dgm:cxn modelId="{8A3E5136-4C6C-43E4-B05C-F9D22389B11F}" srcId="{A29FAA34-A57C-406D-9182-42F4D391B846}" destId="{58E093B8-0827-44CF-B102-DDCFF6D1B691}" srcOrd="2" destOrd="0" parTransId="{909E2E98-462D-4D71-B1DF-828D793604CA}" sibTransId="{87538893-173E-4420-8F80-F3404A0D6772}"/>
    <dgm:cxn modelId="{B408FEDD-0CA1-4DD5-8442-45B3CD53DD9A}" srcId="{D1FEA274-4F43-4C09-8D43-5E41C7CB6E95}" destId="{C9EC6F8E-6EA9-4CF3-BAE4-AC763BC64228}" srcOrd="0" destOrd="0" parTransId="{4EE822D4-A98E-4EED-9ECC-7422D6A2FAF6}" sibTransId="{1D00242B-FF41-4727-8404-3B339547DC70}"/>
    <dgm:cxn modelId="{A4F8DAE2-79FA-455E-BD17-FBF4E01537BB}" srcId="{D1FEA274-4F43-4C09-8D43-5E41C7CB6E95}" destId="{94E5E2DF-2CE3-4746-99F6-0E125E0D3859}" srcOrd="2" destOrd="0" parTransId="{306C32F2-AF56-4445-B5D5-29CD1392B38B}" sibTransId="{C6B2082D-BE19-4565-BDE7-7D4DD33CCFCC}"/>
    <dgm:cxn modelId="{CEB64F21-D38A-4CFD-9290-E809AF13E09D}" type="presOf" srcId="{3FCFDA8A-6988-48F9-9571-490C85E1E6B9}" destId="{D40CBC82-18E1-4FE1-AE1D-84CD6E67B7BE}" srcOrd="0" destOrd="0" presId="urn:microsoft.com/office/officeart/2005/8/layout/hList1"/>
    <dgm:cxn modelId="{7AA5341A-0FBC-4021-8AC2-7FBEEF6C6989}" type="presOf" srcId="{D1FEA274-4F43-4C09-8D43-5E41C7CB6E95}" destId="{1509E57A-AE04-48D6-B2B2-33D486AE3E9F}" srcOrd="0" destOrd="0" presId="urn:microsoft.com/office/officeart/2005/8/layout/hList1"/>
    <dgm:cxn modelId="{E90A922D-B6AD-436C-974E-449B16FC465F}" type="presOf" srcId="{5E8FC69B-03F0-4566-80F8-DC62B6A5BCC8}" destId="{D40CBC82-18E1-4FE1-AE1D-84CD6E67B7BE}" srcOrd="0" destOrd="1" presId="urn:microsoft.com/office/officeart/2005/8/layout/hList1"/>
    <dgm:cxn modelId="{68737656-7710-47C8-B555-8444B9811632}" srcId="{A29FAA34-A57C-406D-9182-42F4D391B846}" destId="{68A24A68-CD12-4BAA-B7AE-CA54FE382C27}" srcOrd="1" destOrd="0" parTransId="{D83CA8DF-FC6E-40CC-B84C-069A73B35090}" sibTransId="{F3EC87EF-65C2-4CF0-80D8-61B2C6EFFDB5}"/>
    <dgm:cxn modelId="{5FCE1612-4A26-43B0-9D86-2F4F1D5D0D70}" type="presOf" srcId="{3154F84F-A4D7-49F9-9D7F-01D55A60EB02}" destId="{3F579FAA-CD96-46CC-ADE5-98FC8DD24FD7}" srcOrd="0" destOrd="2" presId="urn:microsoft.com/office/officeart/2005/8/layout/hList1"/>
    <dgm:cxn modelId="{013EEFEA-6F7F-4D91-8677-386C22F85F2E}" type="presOf" srcId="{034A77CB-42B1-4D64-B1C5-1CA5DD343227}" destId="{3F579FAA-CD96-46CC-ADE5-98FC8DD24FD7}" srcOrd="0" destOrd="1" presId="urn:microsoft.com/office/officeart/2005/8/layout/hList1"/>
    <dgm:cxn modelId="{9FEA58A5-0D25-4370-BB5B-36ADF295B344}" type="presOf" srcId="{68A24A68-CD12-4BAA-B7AE-CA54FE382C27}" destId="{A210537C-00A1-41C5-88B2-F712AA5E5C5E}" srcOrd="0" destOrd="1" presId="urn:microsoft.com/office/officeart/2005/8/layout/hList1"/>
    <dgm:cxn modelId="{DDF50516-D0DA-4B63-9C9B-081D6871291E}" type="presOf" srcId="{C9EC6F8E-6EA9-4CF3-BAE4-AC763BC64228}" destId="{86203CD1-F251-4F1D-AE8E-018B7792E98A}" srcOrd="0" destOrd="0" presId="urn:microsoft.com/office/officeart/2005/8/layout/hList1"/>
    <dgm:cxn modelId="{1518F75C-2F28-4150-AF13-01B59DCDF5ED}" srcId="{94E5E2DF-2CE3-4746-99F6-0E125E0D3859}" destId="{F00E10D2-7523-449D-9027-17728EBB2989}" srcOrd="2" destOrd="0" parTransId="{0B51792B-6EC0-447D-AB01-EA639DD4A837}" sibTransId="{7CC051DB-D412-4064-AD41-BA097C3AB90D}"/>
    <dgm:cxn modelId="{DD9FBFDF-7774-46BE-AEB7-D5143028D64E}" srcId="{C9EC6F8E-6EA9-4CF3-BAE4-AC763BC64228}" destId="{FB176D02-B65E-4737-997B-EFEC96847FFB}" srcOrd="0" destOrd="0" parTransId="{211BD005-B3A2-43CE-9581-42E09EA0FA96}" sibTransId="{6D313FE7-0E06-48E0-A552-CC97CB6F8AE6}"/>
    <dgm:cxn modelId="{AC5EE7FA-6421-4997-B2AD-128CFF7257FB}" type="presParOf" srcId="{1509E57A-AE04-48D6-B2B2-33D486AE3E9F}" destId="{7A4DA6A1-D98D-4DB1-8D53-7059A3401DB3}" srcOrd="0" destOrd="0" presId="urn:microsoft.com/office/officeart/2005/8/layout/hList1"/>
    <dgm:cxn modelId="{5F733F06-A999-40A3-8558-90BF05A5B11E}" type="presParOf" srcId="{7A4DA6A1-D98D-4DB1-8D53-7059A3401DB3}" destId="{86203CD1-F251-4F1D-AE8E-018B7792E98A}" srcOrd="0" destOrd="0" presId="urn:microsoft.com/office/officeart/2005/8/layout/hList1"/>
    <dgm:cxn modelId="{96856286-F5AD-45AE-957C-AB80592188F6}" type="presParOf" srcId="{7A4DA6A1-D98D-4DB1-8D53-7059A3401DB3}" destId="{3F579FAA-CD96-46CC-ADE5-98FC8DD24FD7}" srcOrd="1" destOrd="0" presId="urn:microsoft.com/office/officeart/2005/8/layout/hList1"/>
    <dgm:cxn modelId="{F5982A40-5D2E-4C7F-BF37-EEAF2BB91D3E}" type="presParOf" srcId="{1509E57A-AE04-48D6-B2B2-33D486AE3E9F}" destId="{D71CE3AE-FF5D-438F-8244-66B61F09F781}" srcOrd="1" destOrd="0" presId="urn:microsoft.com/office/officeart/2005/8/layout/hList1"/>
    <dgm:cxn modelId="{72244D7A-172E-4572-982E-3CAA4C1C1848}" type="presParOf" srcId="{1509E57A-AE04-48D6-B2B2-33D486AE3E9F}" destId="{3D82D7D6-0F30-4523-8E15-844A5958565A}" srcOrd="2" destOrd="0" presId="urn:microsoft.com/office/officeart/2005/8/layout/hList1"/>
    <dgm:cxn modelId="{AC74BC41-B0F3-4494-A27A-D911ED4ADE1A}" type="presParOf" srcId="{3D82D7D6-0F30-4523-8E15-844A5958565A}" destId="{E0FF8F23-AC09-4D17-80C3-BE1AF65B4416}" srcOrd="0" destOrd="0" presId="urn:microsoft.com/office/officeart/2005/8/layout/hList1"/>
    <dgm:cxn modelId="{33297C6A-7CFB-4125-9F39-5150E52A3979}" type="presParOf" srcId="{3D82D7D6-0F30-4523-8E15-844A5958565A}" destId="{A210537C-00A1-41C5-88B2-F712AA5E5C5E}" srcOrd="1" destOrd="0" presId="urn:microsoft.com/office/officeart/2005/8/layout/hList1"/>
    <dgm:cxn modelId="{621856B8-ADD3-4752-AE60-B7C441CDF3EF}" type="presParOf" srcId="{1509E57A-AE04-48D6-B2B2-33D486AE3E9F}" destId="{D5C81314-4D0A-4DC4-88FF-F40CD1FD3841}" srcOrd="3" destOrd="0" presId="urn:microsoft.com/office/officeart/2005/8/layout/hList1"/>
    <dgm:cxn modelId="{359E9575-8847-4E52-B983-9D65719FAE59}" type="presParOf" srcId="{1509E57A-AE04-48D6-B2B2-33D486AE3E9F}" destId="{7919F0B8-A26E-459B-84E3-61798D320171}" srcOrd="4" destOrd="0" presId="urn:microsoft.com/office/officeart/2005/8/layout/hList1"/>
    <dgm:cxn modelId="{DF7D43E8-2358-47B4-AEB0-26676CABF1AF}" type="presParOf" srcId="{7919F0B8-A26E-459B-84E3-61798D320171}" destId="{48D1C145-1FCC-44D6-AE75-43FDA3898BD6}" srcOrd="0" destOrd="0" presId="urn:microsoft.com/office/officeart/2005/8/layout/hList1"/>
    <dgm:cxn modelId="{67F81401-DB0E-42FD-8BD3-3E611B8B05F9}" type="presParOf" srcId="{7919F0B8-A26E-459B-84E3-61798D320171}" destId="{D40CBC82-18E1-4FE1-AE1D-84CD6E67B7B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1FEA274-4F43-4C09-8D43-5E41C7CB6E95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C9EC6F8E-6EA9-4CF3-BAE4-AC763BC64228}">
      <dgm:prSet phldrT="[Text]"/>
      <dgm:spPr/>
      <dgm:t>
        <a:bodyPr/>
        <a:lstStyle/>
        <a:p>
          <a:r>
            <a:rPr lang="en-IN" b="1" dirty="0" smtClean="0"/>
            <a:t>PFMS System Access</a:t>
          </a:r>
          <a:endParaRPr lang="en-IN" b="1" dirty="0"/>
        </a:p>
      </dgm:t>
    </dgm:pt>
    <dgm:pt modelId="{4EE822D4-A98E-4EED-9ECC-7422D6A2FAF6}" type="parTrans" cxnId="{B408FEDD-0CA1-4DD5-8442-45B3CD53DD9A}">
      <dgm:prSet/>
      <dgm:spPr/>
      <dgm:t>
        <a:bodyPr/>
        <a:lstStyle/>
        <a:p>
          <a:endParaRPr lang="en-IN"/>
        </a:p>
      </dgm:t>
    </dgm:pt>
    <dgm:pt modelId="{1D00242B-FF41-4727-8404-3B339547DC70}" type="sibTrans" cxnId="{B408FEDD-0CA1-4DD5-8442-45B3CD53DD9A}">
      <dgm:prSet/>
      <dgm:spPr/>
      <dgm:t>
        <a:bodyPr/>
        <a:lstStyle/>
        <a:p>
          <a:endParaRPr lang="en-IN"/>
        </a:p>
      </dgm:t>
    </dgm:pt>
    <dgm:pt modelId="{FB176D02-B65E-4737-997B-EFEC96847FFB}">
      <dgm:prSet phldrT="[Text]"/>
      <dgm:spPr/>
      <dgm:t>
        <a:bodyPr/>
        <a:lstStyle/>
        <a:p>
          <a:r>
            <a:rPr lang="en-IN" dirty="0" smtClean="0"/>
            <a:t>PMU can monitor user access for PFMS Health Module</a:t>
          </a:r>
          <a:endParaRPr lang="en-IN" dirty="0"/>
        </a:p>
      </dgm:t>
    </dgm:pt>
    <dgm:pt modelId="{211BD005-B3A2-43CE-9581-42E09EA0FA96}" type="parTrans" cxnId="{DD9FBFDF-7774-46BE-AEB7-D5143028D64E}">
      <dgm:prSet/>
      <dgm:spPr/>
      <dgm:t>
        <a:bodyPr/>
        <a:lstStyle/>
        <a:p>
          <a:endParaRPr lang="en-IN"/>
        </a:p>
      </dgm:t>
    </dgm:pt>
    <dgm:pt modelId="{6D313FE7-0E06-48E0-A552-CC97CB6F8AE6}" type="sibTrans" cxnId="{DD9FBFDF-7774-46BE-AEB7-D5143028D64E}">
      <dgm:prSet/>
      <dgm:spPr/>
      <dgm:t>
        <a:bodyPr/>
        <a:lstStyle/>
        <a:p>
          <a:endParaRPr lang="en-IN"/>
        </a:p>
      </dgm:t>
    </dgm:pt>
    <dgm:pt modelId="{BDD27766-3F90-4454-AE4C-C1997A337C14}">
      <dgm:prSet phldrT="[Text]"/>
      <dgm:spPr/>
      <dgm:t>
        <a:bodyPr/>
        <a:lstStyle/>
        <a:p>
          <a:r>
            <a:rPr lang="en-IN" dirty="0" smtClean="0"/>
            <a:t>Assess end user performance </a:t>
          </a:r>
          <a:endParaRPr lang="en-IN" dirty="0"/>
        </a:p>
      </dgm:t>
    </dgm:pt>
    <dgm:pt modelId="{00DB6A11-47B5-402E-ADD7-01ECF5908B64}" type="parTrans" cxnId="{A2A5E781-08F6-446A-BD94-9F01DE2B9ED0}">
      <dgm:prSet/>
      <dgm:spPr/>
      <dgm:t>
        <a:bodyPr/>
        <a:lstStyle/>
        <a:p>
          <a:endParaRPr lang="en-IN"/>
        </a:p>
      </dgm:t>
    </dgm:pt>
    <dgm:pt modelId="{998A63B5-247E-4610-B655-8A1CC6D3952A}" type="sibTrans" cxnId="{A2A5E781-08F6-446A-BD94-9F01DE2B9ED0}">
      <dgm:prSet/>
      <dgm:spPr/>
      <dgm:t>
        <a:bodyPr/>
        <a:lstStyle/>
        <a:p>
          <a:endParaRPr lang="en-IN"/>
        </a:p>
      </dgm:t>
    </dgm:pt>
    <dgm:pt modelId="{A29FAA34-A57C-406D-9182-42F4D391B846}">
      <dgm:prSet phldrT="[Text]"/>
      <dgm:spPr/>
      <dgm:t>
        <a:bodyPr/>
        <a:lstStyle/>
        <a:p>
          <a:r>
            <a:rPr lang="en-IN" b="1" dirty="0" smtClean="0"/>
            <a:t>Payment Ageing</a:t>
          </a:r>
          <a:endParaRPr lang="en-IN" b="1" dirty="0"/>
        </a:p>
      </dgm:t>
    </dgm:pt>
    <dgm:pt modelId="{B12D69F3-6CDF-49D3-B31F-EC6D7E019CF6}" type="parTrans" cxnId="{F06DEBA9-5352-4031-8520-987E2A01D25D}">
      <dgm:prSet/>
      <dgm:spPr/>
      <dgm:t>
        <a:bodyPr/>
        <a:lstStyle/>
        <a:p>
          <a:endParaRPr lang="en-IN"/>
        </a:p>
      </dgm:t>
    </dgm:pt>
    <dgm:pt modelId="{41962A6D-ADC7-47BC-B563-561FCDA8DCA3}" type="sibTrans" cxnId="{F06DEBA9-5352-4031-8520-987E2A01D25D}">
      <dgm:prSet/>
      <dgm:spPr/>
      <dgm:t>
        <a:bodyPr/>
        <a:lstStyle/>
        <a:p>
          <a:endParaRPr lang="en-IN"/>
        </a:p>
      </dgm:t>
    </dgm:pt>
    <dgm:pt modelId="{C3D04E9A-6E22-4AEC-B4F1-63700100C343}">
      <dgm:prSet phldrT="[Text]"/>
      <dgm:spPr/>
      <dgm:t>
        <a:bodyPr/>
        <a:lstStyle/>
        <a:p>
          <a:r>
            <a:rPr lang="en-IN" dirty="0" smtClean="0"/>
            <a:t>PMU can view information regarding the number of records approved &amp; paid to the beneficiaries </a:t>
          </a:r>
          <a:endParaRPr lang="en-IN" dirty="0"/>
        </a:p>
      </dgm:t>
    </dgm:pt>
    <dgm:pt modelId="{B5C9F562-B569-4A60-BF1D-5EA85B403CE6}" type="parTrans" cxnId="{B2EE002F-B1C6-4FE2-B936-8C228517F5CE}">
      <dgm:prSet/>
      <dgm:spPr/>
      <dgm:t>
        <a:bodyPr/>
        <a:lstStyle/>
        <a:p>
          <a:endParaRPr lang="en-IN"/>
        </a:p>
      </dgm:t>
    </dgm:pt>
    <dgm:pt modelId="{67161DEA-5EF7-4D1F-8D2E-5719CCCA98D2}" type="sibTrans" cxnId="{B2EE002F-B1C6-4FE2-B936-8C228517F5CE}">
      <dgm:prSet/>
      <dgm:spPr/>
      <dgm:t>
        <a:bodyPr/>
        <a:lstStyle/>
        <a:p>
          <a:endParaRPr lang="en-IN"/>
        </a:p>
      </dgm:t>
    </dgm:pt>
    <dgm:pt modelId="{94E5E2DF-2CE3-4746-99F6-0E125E0D3859}">
      <dgm:prSet phldrT="[Text]"/>
      <dgm:spPr/>
      <dgm:t>
        <a:bodyPr/>
        <a:lstStyle/>
        <a:p>
          <a:r>
            <a:rPr lang="en-IN" b="1" dirty="0" smtClean="0"/>
            <a:t>State Ranking</a:t>
          </a:r>
          <a:endParaRPr lang="en-IN" b="1" dirty="0"/>
        </a:p>
      </dgm:t>
    </dgm:pt>
    <dgm:pt modelId="{306C32F2-AF56-4445-B5D5-29CD1392B38B}" type="parTrans" cxnId="{A4F8DAE2-79FA-455E-BD17-FBF4E01537BB}">
      <dgm:prSet/>
      <dgm:spPr/>
      <dgm:t>
        <a:bodyPr/>
        <a:lstStyle/>
        <a:p>
          <a:endParaRPr lang="en-IN"/>
        </a:p>
      </dgm:t>
    </dgm:pt>
    <dgm:pt modelId="{C6B2082D-BE19-4565-BDE7-7D4DD33CCFCC}" type="sibTrans" cxnId="{A4F8DAE2-79FA-455E-BD17-FBF4E01537BB}">
      <dgm:prSet/>
      <dgm:spPr/>
      <dgm:t>
        <a:bodyPr/>
        <a:lstStyle/>
        <a:p>
          <a:endParaRPr lang="en-IN"/>
        </a:p>
      </dgm:t>
    </dgm:pt>
    <dgm:pt modelId="{3FCFDA8A-6988-48F9-9571-490C85E1E6B9}">
      <dgm:prSet phldrT="[Text]"/>
      <dgm:spPr/>
      <dgm:t>
        <a:bodyPr/>
        <a:lstStyle/>
        <a:p>
          <a:r>
            <a:rPr lang="en-IN" dirty="0" smtClean="0"/>
            <a:t>PMU can view ranking of states based on their fund utilization, system usage and event approval timings</a:t>
          </a:r>
          <a:endParaRPr lang="en-IN" dirty="0"/>
        </a:p>
      </dgm:t>
    </dgm:pt>
    <dgm:pt modelId="{13F811E9-1DD1-4E9B-BB30-947A555B93D0}" type="parTrans" cxnId="{E470D593-15D0-4D27-ABFF-FE90D0B8114B}">
      <dgm:prSet/>
      <dgm:spPr/>
      <dgm:t>
        <a:bodyPr/>
        <a:lstStyle/>
        <a:p>
          <a:endParaRPr lang="en-IN"/>
        </a:p>
      </dgm:t>
    </dgm:pt>
    <dgm:pt modelId="{01B4AB34-6DC7-4104-A403-045C9CC61C4F}" type="sibTrans" cxnId="{E470D593-15D0-4D27-ABFF-FE90D0B8114B}">
      <dgm:prSet/>
      <dgm:spPr/>
      <dgm:t>
        <a:bodyPr/>
        <a:lstStyle/>
        <a:p>
          <a:endParaRPr lang="en-IN"/>
        </a:p>
      </dgm:t>
    </dgm:pt>
    <dgm:pt modelId="{76C38073-E6B6-4544-BA61-F1F48E73183D}">
      <dgm:prSet/>
      <dgm:spPr/>
      <dgm:t>
        <a:bodyPr/>
        <a:lstStyle/>
        <a:p>
          <a:endParaRPr lang="en-IN"/>
        </a:p>
      </dgm:t>
    </dgm:pt>
    <dgm:pt modelId="{A929D513-E3B4-407E-A447-B3D6354B554C}" type="parTrans" cxnId="{F162A879-6804-4937-A731-75444EA5D389}">
      <dgm:prSet/>
      <dgm:spPr/>
      <dgm:t>
        <a:bodyPr/>
        <a:lstStyle/>
        <a:p>
          <a:endParaRPr lang="en-IN"/>
        </a:p>
      </dgm:t>
    </dgm:pt>
    <dgm:pt modelId="{2786571D-A8D2-487D-979E-9428574368C9}" type="sibTrans" cxnId="{F162A879-6804-4937-A731-75444EA5D389}">
      <dgm:prSet/>
      <dgm:spPr/>
      <dgm:t>
        <a:bodyPr/>
        <a:lstStyle/>
        <a:p>
          <a:endParaRPr lang="en-IN"/>
        </a:p>
      </dgm:t>
    </dgm:pt>
    <dgm:pt modelId="{157160F1-F059-4E82-9AD5-BB1D49364B02}">
      <dgm:prSet/>
      <dgm:spPr/>
      <dgm:t>
        <a:bodyPr/>
        <a:lstStyle/>
        <a:p>
          <a:r>
            <a:rPr lang="en-IN" dirty="0" smtClean="0"/>
            <a:t>It will help assess performance at a national level and aid in decision making</a:t>
          </a:r>
          <a:endParaRPr lang="en-IN" dirty="0"/>
        </a:p>
      </dgm:t>
    </dgm:pt>
    <dgm:pt modelId="{218C86F0-6593-486E-9FF9-02CE26828C0C}" type="parTrans" cxnId="{0961FD95-7564-4088-BF75-0605B34616B7}">
      <dgm:prSet/>
      <dgm:spPr/>
      <dgm:t>
        <a:bodyPr/>
        <a:lstStyle/>
        <a:p>
          <a:endParaRPr lang="en-IN"/>
        </a:p>
      </dgm:t>
    </dgm:pt>
    <dgm:pt modelId="{58A77009-9A2B-4BDD-A91B-A0FB6FBC566E}" type="sibTrans" cxnId="{0961FD95-7564-4088-BF75-0605B34616B7}">
      <dgm:prSet/>
      <dgm:spPr/>
      <dgm:t>
        <a:bodyPr/>
        <a:lstStyle/>
        <a:p>
          <a:endParaRPr lang="en-IN"/>
        </a:p>
      </dgm:t>
    </dgm:pt>
    <dgm:pt modelId="{C9C8957E-750C-4E12-8C08-6EFF36BD0414}">
      <dgm:prSet/>
      <dgm:spPr/>
      <dgm:t>
        <a:bodyPr/>
        <a:lstStyle/>
        <a:p>
          <a:r>
            <a:rPr lang="en-IN" dirty="0" smtClean="0"/>
            <a:t>The record level detail will be available for analysis</a:t>
          </a:r>
          <a:endParaRPr lang="en-IN" dirty="0"/>
        </a:p>
      </dgm:t>
    </dgm:pt>
    <dgm:pt modelId="{D421F249-CF7F-40DB-BF4F-BA126ADAA137}" type="sibTrans" cxnId="{FA8203DF-6B91-4675-846B-CA9911BE26E4}">
      <dgm:prSet/>
      <dgm:spPr/>
      <dgm:t>
        <a:bodyPr/>
        <a:lstStyle/>
        <a:p>
          <a:endParaRPr lang="en-IN"/>
        </a:p>
      </dgm:t>
    </dgm:pt>
    <dgm:pt modelId="{69D02EEB-52FE-43FB-A217-13C8F011F32D}" type="parTrans" cxnId="{FA8203DF-6B91-4675-846B-CA9911BE26E4}">
      <dgm:prSet/>
      <dgm:spPr/>
      <dgm:t>
        <a:bodyPr/>
        <a:lstStyle/>
        <a:p>
          <a:endParaRPr lang="en-IN"/>
        </a:p>
      </dgm:t>
    </dgm:pt>
    <dgm:pt modelId="{DE676D9B-DEBA-43B7-AC52-FE993F3AA704}">
      <dgm:prSet/>
      <dgm:spPr/>
      <dgm:t>
        <a:bodyPr/>
        <a:lstStyle/>
        <a:p>
          <a:endParaRPr lang="en-IN" dirty="0"/>
        </a:p>
      </dgm:t>
    </dgm:pt>
    <dgm:pt modelId="{187BD7FC-48A0-44F8-9753-38E9928F4E9D}" type="sibTrans" cxnId="{B253A82C-0F75-4B8A-A933-F8D4B13DC455}">
      <dgm:prSet/>
      <dgm:spPr/>
      <dgm:t>
        <a:bodyPr/>
        <a:lstStyle/>
        <a:p>
          <a:endParaRPr lang="en-IN"/>
        </a:p>
      </dgm:t>
    </dgm:pt>
    <dgm:pt modelId="{ECCEA9F1-1970-4A07-A96C-255A00DF33BA}" type="parTrans" cxnId="{B253A82C-0F75-4B8A-A933-F8D4B13DC455}">
      <dgm:prSet/>
      <dgm:spPr/>
      <dgm:t>
        <a:bodyPr/>
        <a:lstStyle/>
        <a:p>
          <a:endParaRPr lang="en-IN"/>
        </a:p>
      </dgm:t>
    </dgm:pt>
    <dgm:pt modelId="{1509E57A-AE04-48D6-B2B2-33D486AE3E9F}" type="pres">
      <dgm:prSet presAssocID="{D1FEA274-4F43-4C09-8D43-5E41C7CB6E9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A4DA6A1-D98D-4DB1-8D53-7059A3401DB3}" type="pres">
      <dgm:prSet presAssocID="{C9EC6F8E-6EA9-4CF3-BAE4-AC763BC64228}" presName="composite" presStyleCnt="0"/>
      <dgm:spPr/>
    </dgm:pt>
    <dgm:pt modelId="{86203CD1-F251-4F1D-AE8E-018B7792E98A}" type="pres">
      <dgm:prSet presAssocID="{C9EC6F8E-6EA9-4CF3-BAE4-AC763BC6422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F579FAA-CD96-46CC-ADE5-98FC8DD24FD7}" type="pres">
      <dgm:prSet presAssocID="{C9EC6F8E-6EA9-4CF3-BAE4-AC763BC64228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71CE3AE-FF5D-438F-8244-66B61F09F781}" type="pres">
      <dgm:prSet presAssocID="{1D00242B-FF41-4727-8404-3B339547DC70}" presName="space" presStyleCnt="0"/>
      <dgm:spPr/>
    </dgm:pt>
    <dgm:pt modelId="{3D82D7D6-0F30-4523-8E15-844A5958565A}" type="pres">
      <dgm:prSet presAssocID="{A29FAA34-A57C-406D-9182-42F4D391B846}" presName="composite" presStyleCnt="0"/>
      <dgm:spPr/>
    </dgm:pt>
    <dgm:pt modelId="{E0FF8F23-AC09-4D17-80C3-BE1AF65B4416}" type="pres">
      <dgm:prSet presAssocID="{A29FAA34-A57C-406D-9182-42F4D391B846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210537C-00A1-41C5-88B2-F712AA5E5C5E}" type="pres">
      <dgm:prSet presAssocID="{A29FAA34-A57C-406D-9182-42F4D391B846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5C81314-4D0A-4DC4-88FF-F40CD1FD3841}" type="pres">
      <dgm:prSet presAssocID="{41962A6D-ADC7-47BC-B563-561FCDA8DCA3}" presName="space" presStyleCnt="0"/>
      <dgm:spPr/>
    </dgm:pt>
    <dgm:pt modelId="{7919F0B8-A26E-459B-84E3-61798D320171}" type="pres">
      <dgm:prSet presAssocID="{94E5E2DF-2CE3-4746-99F6-0E125E0D3859}" presName="composite" presStyleCnt="0"/>
      <dgm:spPr/>
    </dgm:pt>
    <dgm:pt modelId="{48D1C145-1FCC-44D6-AE75-43FDA3898BD6}" type="pres">
      <dgm:prSet presAssocID="{94E5E2DF-2CE3-4746-99F6-0E125E0D3859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40CBC82-18E1-4FE1-AE1D-84CD6E67B7BE}" type="pres">
      <dgm:prSet presAssocID="{94E5E2DF-2CE3-4746-99F6-0E125E0D3859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0961FD95-7564-4088-BF75-0605B34616B7}" srcId="{94E5E2DF-2CE3-4746-99F6-0E125E0D3859}" destId="{157160F1-F059-4E82-9AD5-BB1D49364B02}" srcOrd="2" destOrd="0" parTransId="{218C86F0-6593-486E-9FF9-02CE26828C0C}" sibTransId="{58A77009-9A2B-4BDD-A91B-A0FB6FBC566E}"/>
    <dgm:cxn modelId="{CBB9994A-4AD1-4D21-8C06-A41201AF5706}" type="presOf" srcId="{3FCFDA8A-6988-48F9-9571-490C85E1E6B9}" destId="{D40CBC82-18E1-4FE1-AE1D-84CD6E67B7BE}" srcOrd="0" destOrd="0" presId="urn:microsoft.com/office/officeart/2005/8/layout/hList1"/>
    <dgm:cxn modelId="{80202C54-CDEE-4E02-9ABF-B4598913ACB0}" type="presOf" srcId="{BDD27766-3F90-4454-AE4C-C1997A337C14}" destId="{3F579FAA-CD96-46CC-ADE5-98FC8DD24FD7}" srcOrd="0" destOrd="1" presId="urn:microsoft.com/office/officeart/2005/8/layout/hList1"/>
    <dgm:cxn modelId="{B2EE002F-B1C6-4FE2-B936-8C228517F5CE}" srcId="{A29FAA34-A57C-406D-9182-42F4D391B846}" destId="{C3D04E9A-6E22-4AEC-B4F1-63700100C343}" srcOrd="0" destOrd="0" parTransId="{B5C9F562-B569-4A60-BF1D-5EA85B403CE6}" sibTransId="{67161DEA-5EF7-4D1F-8D2E-5719CCCA98D2}"/>
    <dgm:cxn modelId="{B3673FFD-930C-4180-A5D1-F3AB52967BE8}" type="presOf" srcId="{D1FEA274-4F43-4C09-8D43-5E41C7CB6E95}" destId="{1509E57A-AE04-48D6-B2B2-33D486AE3E9F}" srcOrd="0" destOrd="0" presId="urn:microsoft.com/office/officeart/2005/8/layout/hList1"/>
    <dgm:cxn modelId="{5327FDD1-39EE-4B90-82F1-B966008E8047}" type="presOf" srcId="{C9C8957E-750C-4E12-8C08-6EFF36BD0414}" destId="{A210537C-00A1-41C5-88B2-F712AA5E5C5E}" srcOrd="0" destOrd="2" presId="urn:microsoft.com/office/officeart/2005/8/layout/hList1"/>
    <dgm:cxn modelId="{F162A879-6804-4937-A731-75444EA5D389}" srcId="{94E5E2DF-2CE3-4746-99F6-0E125E0D3859}" destId="{76C38073-E6B6-4544-BA61-F1F48E73183D}" srcOrd="1" destOrd="0" parTransId="{A929D513-E3B4-407E-A447-B3D6354B554C}" sibTransId="{2786571D-A8D2-487D-979E-9428574368C9}"/>
    <dgm:cxn modelId="{79BD4DF9-FCF2-4EF0-A68C-B164A8B31416}" type="presOf" srcId="{C9EC6F8E-6EA9-4CF3-BAE4-AC763BC64228}" destId="{86203CD1-F251-4F1D-AE8E-018B7792E98A}" srcOrd="0" destOrd="0" presId="urn:microsoft.com/office/officeart/2005/8/layout/hList1"/>
    <dgm:cxn modelId="{9A2516EF-A5B4-49FF-BC8B-4F29C98E68A5}" type="presOf" srcId="{A29FAA34-A57C-406D-9182-42F4D391B846}" destId="{E0FF8F23-AC09-4D17-80C3-BE1AF65B4416}" srcOrd="0" destOrd="0" presId="urn:microsoft.com/office/officeart/2005/8/layout/hList1"/>
    <dgm:cxn modelId="{7E6D8C88-F1A5-4078-BFE2-715E6E10CE5E}" type="presOf" srcId="{157160F1-F059-4E82-9AD5-BB1D49364B02}" destId="{D40CBC82-18E1-4FE1-AE1D-84CD6E67B7BE}" srcOrd="0" destOrd="2" presId="urn:microsoft.com/office/officeart/2005/8/layout/hList1"/>
    <dgm:cxn modelId="{F4C5625A-7D84-4A1D-8507-D48C70544CAE}" type="presOf" srcId="{DE676D9B-DEBA-43B7-AC52-FE993F3AA704}" destId="{A210537C-00A1-41C5-88B2-F712AA5E5C5E}" srcOrd="0" destOrd="1" presId="urn:microsoft.com/office/officeart/2005/8/layout/hList1"/>
    <dgm:cxn modelId="{A2A5E781-08F6-446A-BD94-9F01DE2B9ED0}" srcId="{C9EC6F8E-6EA9-4CF3-BAE4-AC763BC64228}" destId="{BDD27766-3F90-4454-AE4C-C1997A337C14}" srcOrd="1" destOrd="0" parTransId="{00DB6A11-47B5-402E-ADD7-01ECF5908B64}" sibTransId="{998A63B5-247E-4610-B655-8A1CC6D3952A}"/>
    <dgm:cxn modelId="{F06DEBA9-5352-4031-8520-987E2A01D25D}" srcId="{D1FEA274-4F43-4C09-8D43-5E41C7CB6E95}" destId="{A29FAA34-A57C-406D-9182-42F4D391B846}" srcOrd="1" destOrd="0" parTransId="{B12D69F3-6CDF-49D3-B31F-EC6D7E019CF6}" sibTransId="{41962A6D-ADC7-47BC-B563-561FCDA8DCA3}"/>
    <dgm:cxn modelId="{E470D593-15D0-4D27-ABFF-FE90D0B8114B}" srcId="{94E5E2DF-2CE3-4746-99F6-0E125E0D3859}" destId="{3FCFDA8A-6988-48F9-9571-490C85E1E6B9}" srcOrd="0" destOrd="0" parTransId="{13F811E9-1DD1-4E9B-BB30-947A555B93D0}" sibTransId="{01B4AB34-6DC7-4104-A403-045C9CC61C4F}"/>
    <dgm:cxn modelId="{AAAEC283-83D7-45F0-9EB0-0DE141851D7F}" type="presOf" srcId="{94E5E2DF-2CE3-4746-99F6-0E125E0D3859}" destId="{48D1C145-1FCC-44D6-AE75-43FDA3898BD6}" srcOrd="0" destOrd="0" presId="urn:microsoft.com/office/officeart/2005/8/layout/hList1"/>
    <dgm:cxn modelId="{B408FEDD-0CA1-4DD5-8442-45B3CD53DD9A}" srcId="{D1FEA274-4F43-4C09-8D43-5E41C7CB6E95}" destId="{C9EC6F8E-6EA9-4CF3-BAE4-AC763BC64228}" srcOrd="0" destOrd="0" parTransId="{4EE822D4-A98E-4EED-9ECC-7422D6A2FAF6}" sibTransId="{1D00242B-FF41-4727-8404-3B339547DC70}"/>
    <dgm:cxn modelId="{FA8203DF-6B91-4675-846B-CA9911BE26E4}" srcId="{A29FAA34-A57C-406D-9182-42F4D391B846}" destId="{C9C8957E-750C-4E12-8C08-6EFF36BD0414}" srcOrd="2" destOrd="0" parTransId="{69D02EEB-52FE-43FB-A217-13C8F011F32D}" sibTransId="{D421F249-CF7F-40DB-BF4F-BA126ADAA137}"/>
    <dgm:cxn modelId="{15AF2887-37E2-43F4-8C9B-056CF380F7EE}" type="presOf" srcId="{76C38073-E6B6-4544-BA61-F1F48E73183D}" destId="{D40CBC82-18E1-4FE1-AE1D-84CD6E67B7BE}" srcOrd="0" destOrd="1" presId="urn:microsoft.com/office/officeart/2005/8/layout/hList1"/>
    <dgm:cxn modelId="{A4F8DAE2-79FA-455E-BD17-FBF4E01537BB}" srcId="{D1FEA274-4F43-4C09-8D43-5E41C7CB6E95}" destId="{94E5E2DF-2CE3-4746-99F6-0E125E0D3859}" srcOrd="2" destOrd="0" parTransId="{306C32F2-AF56-4445-B5D5-29CD1392B38B}" sibTransId="{C6B2082D-BE19-4565-BDE7-7D4DD33CCFCC}"/>
    <dgm:cxn modelId="{2A482ED6-447F-4D86-BD2E-62C4D3B0D22B}" type="presOf" srcId="{C3D04E9A-6E22-4AEC-B4F1-63700100C343}" destId="{A210537C-00A1-41C5-88B2-F712AA5E5C5E}" srcOrd="0" destOrd="0" presId="urn:microsoft.com/office/officeart/2005/8/layout/hList1"/>
    <dgm:cxn modelId="{B253A82C-0F75-4B8A-A933-F8D4B13DC455}" srcId="{A29FAA34-A57C-406D-9182-42F4D391B846}" destId="{DE676D9B-DEBA-43B7-AC52-FE993F3AA704}" srcOrd="1" destOrd="0" parTransId="{ECCEA9F1-1970-4A07-A96C-255A00DF33BA}" sibTransId="{187BD7FC-48A0-44F8-9753-38E9928F4E9D}"/>
    <dgm:cxn modelId="{026303DF-D47A-40FC-996F-9BA34D693863}" type="presOf" srcId="{FB176D02-B65E-4737-997B-EFEC96847FFB}" destId="{3F579FAA-CD96-46CC-ADE5-98FC8DD24FD7}" srcOrd="0" destOrd="0" presId="urn:microsoft.com/office/officeart/2005/8/layout/hList1"/>
    <dgm:cxn modelId="{DD9FBFDF-7774-46BE-AEB7-D5143028D64E}" srcId="{C9EC6F8E-6EA9-4CF3-BAE4-AC763BC64228}" destId="{FB176D02-B65E-4737-997B-EFEC96847FFB}" srcOrd="0" destOrd="0" parTransId="{211BD005-B3A2-43CE-9581-42E09EA0FA96}" sibTransId="{6D313FE7-0E06-48E0-A552-CC97CB6F8AE6}"/>
    <dgm:cxn modelId="{659119BE-201C-4E3B-8F71-8191ECC626AC}" type="presParOf" srcId="{1509E57A-AE04-48D6-B2B2-33D486AE3E9F}" destId="{7A4DA6A1-D98D-4DB1-8D53-7059A3401DB3}" srcOrd="0" destOrd="0" presId="urn:microsoft.com/office/officeart/2005/8/layout/hList1"/>
    <dgm:cxn modelId="{F2E763C4-2E10-4238-B6E7-4D722542D678}" type="presParOf" srcId="{7A4DA6A1-D98D-4DB1-8D53-7059A3401DB3}" destId="{86203CD1-F251-4F1D-AE8E-018B7792E98A}" srcOrd="0" destOrd="0" presId="urn:microsoft.com/office/officeart/2005/8/layout/hList1"/>
    <dgm:cxn modelId="{B8689214-E33C-4DE8-A353-7BCA11AFE1A1}" type="presParOf" srcId="{7A4DA6A1-D98D-4DB1-8D53-7059A3401DB3}" destId="{3F579FAA-CD96-46CC-ADE5-98FC8DD24FD7}" srcOrd="1" destOrd="0" presId="urn:microsoft.com/office/officeart/2005/8/layout/hList1"/>
    <dgm:cxn modelId="{8A12D35B-4B47-4E31-B211-7C015A48074C}" type="presParOf" srcId="{1509E57A-AE04-48D6-B2B2-33D486AE3E9F}" destId="{D71CE3AE-FF5D-438F-8244-66B61F09F781}" srcOrd="1" destOrd="0" presId="urn:microsoft.com/office/officeart/2005/8/layout/hList1"/>
    <dgm:cxn modelId="{C5380409-989D-4B51-A87D-C6E64C10D5B3}" type="presParOf" srcId="{1509E57A-AE04-48D6-B2B2-33D486AE3E9F}" destId="{3D82D7D6-0F30-4523-8E15-844A5958565A}" srcOrd="2" destOrd="0" presId="urn:microsoft.com/office/officeart/2005/8/layout/hList1"/>
    <dgm:cxn modelId="{854D1A6B-2ED9-40BD-A224-734C76F1F58B}" type="presParOf" srcId="{3D82D7D6-0F30-4523-8E15-844A5958565A}" destId="{E0FF8F23-AC09-4D17-80C3-BE1AF65B4416}" srcOrd="0" destOrd="0" presId="urn:microsoft.com/office/officeart/2005/8/layout/hList1"/>
    <dgm:cxn modelId="{DB21D915-81C4-4EE1-A144-46231A1491F3}" type="presParOf" srcId="{3D82D7D6-0F30-4523-8E15-844A5958565A}" destId="{A210537C-00A1-41C5-88B2-F712AA5E5C5E}" srcOrd="1" destOrd="0" presId="urn:microsoft.com/office/officeart/2005/8/layout/hList1"/>
    <dgm:cxn modelId="{8F90FA75-B621-4603-B2BC-67B871BD8790}" type="presParOf" srcId="{1509E57A-AE04-48D6-B2B2-33D486AE3E9F}" destId="{D5C81314-4D0A-4DC4-88FF-F40CD1FD3841}" srcOrd="3" destOrd="0" presId="urn:microsoft.com/office/officeart/2005/8/layout/hList1"/>
    <dgm:cxn modelId="{337ABFD9-6B11-47F6-B5DE-F956AB1D6C83}" type="presParOf" srcId="{1509E57A-AE04-48D6-B2B2-33D486AE3E9F}" destId="{7919F0B8-A26E-459B-84E3-61798D320171}" srcOrd="4" destOrd="0" presId="urn:microsoft.com/office/officeart/2005/8/layout/hList1"/>
    <dgm:cxn modelId="{C916F6B2-0F72-409E-BA81-A40475DDBE48}" type="presParOf" srcId="{7919F0B8-A26E-459B-84E3-61798D320171}" destId="{48D1C145-1FCC-44D6-AE75-43FDA3898BD6}" srcOrd="0" destOrd="0" presId="urn:microsoft.com/office/officeart/2005/8/layout/hList1"/>
    <dgm:cxn modelId="{0A0FE4F0-96D5-4258-B379-0C69F324B18D}" type="presParOf" srcId="{7919F0B8-A26E-459B-84E3-61798D320171}" destId="{D40CBC82-18E1-4FE1-AE1D-84CD6E67B7B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B8C5CDC-5125-4B7E-8047-40447460ADF6}" type="doc">
      <dgm:prSet loTypeId="urn:microsoft.com/office/officeart/2005/8/layout/target3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B4E884B8-BE0B-425D-BEA4-5D1C15A27BCA}">
      <dgm:prSet phldrT="[Text]"/>
      <dgm:spPr/>
      <dgm:t>
        <a:bodyPr/>
        <a:lstStyle/>
        <a:p>
          <a:r>
            <a:rPr lang="en-IN" dirty="0" smtClean="0"/>
            <a:t>Event Recording</a:t>
          </a:r>
          <a:endParaRPr lang="en-IN" dirty="0"/>
        </a:p>
      </dgm:t>
    </dgm:pt>
    <dgm:pt modelId="{05CCD8C6-B10D-495D-B735-EBC12AAB71F7}" type="parTrans" cxnId="{8EE09682-3EA8-4ABB-8483-A8DDE64912D4}">
      <dgm:prSet/>
      <dgm:spPr/>
      <dgm:t>
        <a:bodyPr/>
        <a:lstStyle/>
        <a:p>
          <a:endParaRPr lang="en-IN"/>
        </a:p>
      </dgm:t>
    </dgm:pt>
    <dgm:pt modelId="{E4C6FAA0-713B-40F0-8A60-0BA5C95BDD8F}" type="sibTrans" cxnId="{8EE09682-3EA8-4ABB-8483-A8DDE64912D4}">
      <dgm:prSet/>
      <dgm:spPr/>
      <dgm:t>
        <a:bodyPr/>
        <a:lstStyle/>
        <a:p>
          <a:endParaRPr lang="en-IN"/>
        </a:p>
      </dgm:t>
    </dgm:pt>
    <dgm:pt modelId="{9E8B3A4E-B1DE-4819-A709-C34FC3DFDDD2}">
      <dgm:prSet phldrT="[Text]"/>
      <dgm:spPr/>
      <dgm:t>
        <a:bodyPr/>
        <a:lstStyle/>
        <a:p>
          <a:r>
            <a:rPr lang="en-IN" dirty="0" smtClean="0"/>
            <a:t>Mother Registration through MCTS</a:t>
          </a:r>
          <a:endParaRPr lang="en-IN" dirty="0"/>
        </a:p>
      </dgm:t>
    </dgm:pt>
    <dgm:pt modelId="{8849E71E-F53A-408C-BCD2-8C3174D1722B}" type="parTrans" cxnId="{33B3C61D-6A9D-4981-BEA1-5CECC6271214}">
      <dgm:prSet/>
      <dgm:spPr/>
      <dgm:t>
        <a:bodyPr/>
        <a:lstStyle/>
        <a:p>
          <a:endParaRPr lang="en-IN"/>
        </a:p>
      </dgm:t>
    </dgm:pt>
    <dgm:pt modelId="{35971F13-E865-43C5-80C6-E69054FD291B}" type="sibTrans" cxnId="{33B3C61D-6A9D-4981-BEA1-5CECC6271214}">
      <dgm:prSet/>
      <dgm:spPr/>
      <dgm:t>
        <a:bodyPr/>
        <a:lstStyle/>
        <a:p>
          <a:endParaRPr lang="en-IN"/>
        </a:p>
      </dgm:t>
    </dgm:pt>
    <dgm:pt modelId="{35C42FEF-0925-436E-BDDC-783520A2A222}">
      <dgm:prSet phldrT="[Text]"/>
      <dgm:spPr/>
      <dgm:t>
        <a:bodyPr/>
        <a:lstStyle/>
        <a:p>
          <a:r>
            <a:rPr lang="en-IN" dirty="0" smtClean="0"/>
            <a:t>Event Recording for Specific Activities</a:t>
          </a:r>
          <a:endParaRPr lang="en-IN" dirty="0"/>
        </a:p>
      </dgm:t>
    </dgm:pt>
    <dgm:pt modelId="{14F533E7-8185-4EFD-B57E-613F8BC6727B}" type="parTrans" cxnId="{C5F5743F-4A43-468E-AFCE-64214FCC536F}">
      <dgm:prSet/>
      <dgm:spPr/>
      <dgm:t>
        <a:bodyPr/>
        <a:lstStyle/>
        <a:p>
          <a:endParaRPr lang="en-IN"/>
        </a:p>
      </dgm:t>
    </dgm:pt>
    <dgm:pt modelId="{DAC565A3-3646-47AE-9E94-D14E71D3F024}" type="sibTrans" cxnId="{C5F5743F-4A43-468E-AFCE-64214FCC536F}">
      <dgm:prSet/>
      <dgm:spPr/>
      <dgm:t>
        <a:bodyPr/>
        <a:lstStyle/>
        <a:p>
          <a:endParaRPr lang="en-IN"/>
        </a:p>
      </dgm:t>
    </dgm:pt>
    <dgm:pt modelId="{4182344D-D420-417C-B10F-EFC19EC60672}">
      <dgm:prSet phldrT="[Text]"/>
      <dgm:spPr/>
      <dgm:t>
        <a:bodyPr/>
        <a:lstStyle/>
        <a:p>
          <a:r>
            <a:rPr lang="en-IN" dirty="0" smtClean="0"/>
            <a:t>Event Approval</a:t>
          </a:r>
          <a:endParaRPr lang="en-IN" dirty="0"/>
        </a:p>
      </dgm:t>
    </dgm:pt>
    <dgm:pt modelId="{FA9ACB68-3093-4978-A646-0B728EF57E2A}" type="parTrans" cxnId="{8885388A-D602-4473-9232-E8C25494A636}">
      <dgm:prSet/>
      <dgm:spPr/>
      <dgm:t>
        <a:bodyPr/>
        <a:lstStyle/>
        <a:p>
          <a:endParaRPr lang="en-IN"/>
        </a:p>
      </dgm:t>
    </dgm:pt>
    <dgm:pt modelId="{A504EA3F-1396-420C-AA8E-611CE60BF765}" type="sibTrans" cxnId="{8885388A-D602-4473-9232-E8C25494A636}">
      <dgm:prSet/>
      <dgm:spPr/>
      <dgm:t>
        <a:bodyPr/>
        <a:lstStyle/>
        <a:p>
          <a:endParaRPr lang="en-IN"/>
        </a:p>
      </dgm:t>
    </dgm:pt>
    <dgm:pt modelId="{B625717D-EBD7-46F1-80AF-3A68DBCAB53D}">
      <dgm:prSet phldrT="[Text]"/>
      <dgm:spPr/>
      <dgm:t>
        <a:bodyPr/>
        <a:lstStyle/>
        <a:p>
          <a:r>
            <a:rPr lang="en-IN" dirty="0" smtClean="0"/>
            <a:t>Click through Navigation for MOIC</a:t>
          </a:r>
          <a:endParaRPr lang="en-IN" dirty="0"/>
        </a:p>
      </dgm:t>
    </dgm:pt>
    <dgm:pt modelId="{B32448B2-B80F-445B-9F1C-33885ED1F0F1}" type="parTrans" cxnId="{E85A673B-46D9-4553-B056-3822F3CFC527}">
      <dgm:prSet/>
      <dgm:spPr/>
      <dgm:t>
        <a:bodyPr/>
        <a:lstStyle/>
        <a:p>
          <a:endParaRPr lang="en-IN"/>
        </a:p>
      </dgm:t>
    </dgm:pt>
    <dgm:pt modelId="{6E4ADFF8-7EB0-495C-897B-FE5273521DDB}" type="sibTrans" cxnId="{E85A673B-46D9-4553-B056-3822F3CFC527}">
      <dgm:prSet/>
      <dgm:spPr/>
      <dgm:t>
        <a:bodyPr/>
        <a:lstStyle/>
        <a:p>
          <a:endParaRPr lang="en-IN"/>
        </a:p>
      </dgm:t>
    </dgm:pt>
    <dgm:pt modelId="{7BEED82A-20AD-4F2C-98E5-03A01938C0FA}">
      <dgm:prSet phldrT="[Text]"/>
      <dgm:spPr/>
      <dgm:t>
        <a:bodyPr/>
        <a:lstStyle/>
        <a:p>
          <a:r>
            <a:rPr lang="en-IN" dirty="0" smtClean="0"/>
            <a:t>Faster than web</a:t>
          </a:r>
          <a:endParaRPr lang="en-IN" dirty="0"/>
        </a:p>
      </dgm:t>
    </dgm:pt>
    <dgm:pt modelId="{7800609B-022A-4DFC-9FCF-BA47FEF905CA}" type="parTrans" cxnId="{CD59941E-CAA2-4A31-966B-900E375B9038}">
      <dgm:prSet/>
      <dgm:spPr/>
      <dgm:t>
        <a:bodyPr/>
        <a:lstStyle/>
        <a:p>
          <a:endParaRPr lang="en-IN"/>
        </a:p>
      </dgm:t>
    </dgm:pt>
    <dgm:pt modelId="{591628AD-BCC2-431F-BCD7-A37F899AEC3A}" type="sibTrans" cxnId="{CD59941E-CAA2-4A31-966B-900E375B9038}">
      <dgm:prSet/>
      <dgm:spPr/>
      <dgm:t>
        <a:bodyPr/>
        <a:lstStyle/>
        <a:p>
          <a:endParaRPr lang="en-IN"/>
        </a:p>
      </dgm:t>
    </dgm:pt>
    <dgm:pt modelId="{44869BA6-5684-4361-B400-F1DCCE29F5F7}">
      <dgm:prSet/>
      <dgm:spPr/>
      <dgm:t>
        <a:bodyPr/>
        <a:lstStyle/>
        <a:p>
          <a:r>
            <a:rPr lang="en-IN" dirty="0" smtClean="0"/>
            <a:t>ASHA Empowerment</a:t>
          </a:r>
          <a:endParaRPr lang="en-IN" dirty="0"/>
        </a:p>
      </dgm:t>
    </dgm:pt>
    <dgm:pt modelId="{566A8CDE-9352-49C6-8C43-9DABAFE93049}" type="parTrans" cxnId="{680B7790-57FC-4D8F-86E1-B1BC6D9C7517}">
      <dgm:prSet/>
      <dgm:spPr/>
      <dgm:t>
        <a:bodyPr/>
        <a:lstStyle/>
        <a:p>
          <a:endParaRPr lang="en-IN"/>
        </a:p>
      </dgm:t>
    </dgm:pt>
    <dgm:pt modelId="{33A06B8B-9303-4362-B99E-BBFB94CB4625}" type="sibTrans" cxnId="{680B7790-57FC-4D8F-86E1-B1BC6D9C7517}">
      <dgm:prSet/>
      <dgm:spPr/>
      <dgm:t>
        <a:bodyPr/>
        <a:lstStyle/>
        <a:p>
          <a:endParaRPr lang="en-IN"/>
        </a:p>
      </dgm:t>
    </dgm:pt>
    <dgm:pt modelId="{F4AC7F05-DFE7-48F1-8737-9B0D621A5EC4}">
      <dgm:prSet/>
      <dgm:spPr/>
      <dgm:t>
        <a:bodyPr/>
        <a:lstStyle/>
        <a:p>
          <a:r>
            <a:rPr lang="en-IN" dirty="0" smtClean="0"/>
            <a:t>Seamless Data Entry Process</a:t>
          </a:r>
          <a:endParaRPr lang="en-IN" dirty="0"/>
        </a:p>
      </dgm:t>
    </dgm:pt>
    <dgm:pt modelId="{37F633C2-A205-48A6-94D1-319E3D324E04}" type="parTrans" cxnId="{729DE683-B6A6-41A7-96AE-5E2270D8D79F}">
      <dgm:prSet/>
      <dgm:spPr/>
      <dgm:t>
        <a:bodyPr/>
        <a:lstStyle/>
        <a:p>
          <a:endParaRPr lang="en-IN"/>
        </a:p>
      </dgm:t>
    </dgm:pt>
    <dgm:pt modelId="{8CB96171-0E2E-4E02-99C8-FDB4343F4E78}" type="sibTrans" cxnId="{729DE683-B6A6-41A7-96AE-5E2270D8D79F}">
      <dgm:prSet/>
      <dgm:spPr/>
      <dgm:t>
        <a:bodyPr/>
        <a:lstStyle/>
        <a:p>
          <a:endParaRPr lang="en-IN"/>
        </a:p>
      </dgm:t>
    </dgm:pt>
    <dgm:pt modelId="{91928B96-B34C-44AC-B8A8-E45E32919A39}">
      <dgm:prSet/>
      <dgm:spPr/>
      <dgm:t>
        <a:bodyPr/>
        <a:lstStyle/>
        <a:p>
          <a:r>
            <a:rPr lang="en-IN" dirty="0" smtClean="0"/>
            <a:t>Unprecedented Mobility</a:t>
          </a:r>
          <a:endParaRPr lang="en-IN" dirty="0"/>
        </a:p>
      </dgm:t>
    </dgm:pt>
    <dgm:pt modelId="{F84F79EE-8D39-4B21-BF62-85E0C655C6C1}" type="parTrans" cxnId="{16A22622-5025-4CA9-A0B6-5C6BBB952B91}">
      <dgm:prSet/>
      <dgm:spPr/>
      <dgm:t>
        <a:bodyPr/>
        <a:lstStyle/>
        <a:p>
          <a:endParaRPr lang="en-IN"/>
        </a:p>
      </dgm:t>
    </dgm:pt>
    <dgm:pt modelId="{67A72934-0D08-4B03-BDFF-95265E372649}" type="sibTrans" cxnId="{16A22622-5025-4CA9-A0B6-5C6BBB952B91}">
      <dgm:prSet/>
      <dgm:spPr/>
      <dgm:t>
        <a:bodyPr/>
        <a:lstStyle/>
        <a:p>
          <a:endParaRPr lang="en-IN"/>
        </a:p>
      </dgm:t>
    </dgm:pt>
    <dgm:pt modelId="{2E741069-4525-4239-9C2E-D291B8350B57}">
      <dgm:prSet/>
      <dgm:spPr/>
      <dgm:t>
        <a:bodyPr/>
        <a:lstStyle/>
        <a:p>
          <a:r>
            <a:rPr lang="en-IN" dirty="0" smtClean="0"/>
            <a:t>Bulk Approval</a:t>
          </a:r>
          <a:endParaRPr lang="en-IN" dirty="0"/>
        </a:p>
      </dgm:t>
    </dgm:pt>
    <dgm:pt modelId="{2DA31D2C-5C68-403B-83ED-F4363D111029}" type="parTrans" cxnId="{341F3C7A-0B53-4DF2-89F1-6E8AA6D9C43A}">
      <dgm:prSet/>
      <dgm:spPr/>
      <dgm:t>
        <a:bodyPr/>
        <a:lstStyle/>
        <a:p>
          <a:endParaRPr lang="en-IN"/>
        </a:p>
      </dgm:t>
    </dgm:pt>
    <dgm:pt modelId="{B411DF26-3D26-473B-B256-4079AEB30F8C}" type="sibTrans" cxnId="{341F3C7A-0B53-4DF2-89F1-6E8AA6D9C43A}">
      <dgm:prSet/>
      <dgm:spPr/>
      <dgm:t>
        <a:bodyPr/>
        <a:lstStyle/>
        <a:p>
          <a:endParaRPr lang="en-IN"/>
        </a:p>
      </dgm:t>
    </dgm:pt>
    <dgm:pt modelId="{BBF70937-B602-4736-A5BA-68A2345F12A2}" type="pres">
      <dgm:prSet presAssocID="{BB8C5CDC-5125-4B7E-8047-40447460ADF6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BC010E7-2E0F-45AE-826B-6B4C90FC7ECB}" type="pres">
      <dgm:prSet presAssocID="{B4E884B8-BE0B-425D-BEA4-5D1C15A27BCA}" presName="circle1" presStyleLbl="node1" presStyleIdx="0" presStyleCnt="2"/>
      <dgm:spPr/>
    </dgm:pt>
    <dgm:pt modelId="{DECDF7FF-8BDF-4CEC-8D63-1E51DEB0676B}" type="pres">
      <dgm:prSet presAssocID="{B4E884B8-BE0B-425D-BEA4-5D1C15A27BCA}" presName="space" presStyleCnt="0"/>
      <dgm:spPr/>
    </dgm:pt>
    <dgm:pt modelId="{CD0837BD-74C5-4D58-BD40-E7639C73805D}" type="pres">
      <dgm:prSet presAssocID="{B4E884B8-BE0B-425D-BEA4-5D1C15A27BCA}" presName="rect1" presStyleLbl="alignAcc1" presStyleIdx="0" presStyleCnt="2"/>
      <dgm:spPr/>
      <dgm:t>
        <a:bodyPr/>
        <a:lstStyle/>
        <a:p>
          <a:endParaRPr lang="en-US"/>
        </a:p>
      </dgm:t>
    </dgm:pt>
    <dgm:pt modelId="{96E0F672-7901-47AC-BCDC-D4EEF99898F5}" type="pres">
      <dgm:prSet presAssocID="{4182344D-D420-417C-B10F-EFC19EC60672}" presName="vertSpace2" presStyleLbl="node1" presStyleIdx="0" presStyleCnt="2"/>
      <dgm:spPr/>
    </dgm:pt>
    <dgm:pt modelId="{1F0CD0E8-7554-4A60-A5A7-1B9D8BA7E51C}" type="pres">
      <dgm:prSet presAssocID="{4182344D-D420-417C-B10F-EFC19EC60672}" presName="circle2" presStyleLbl="node1" presStyleIdx="1" presStyleCnt="2"/>
      <dgm:spPr/>
    </dgm:pt>
    <dgm:pt modelId="{2F7D6C5E-4543-427B-8E79-8ED7728BC197}" type="pres">
      <dgm:prSet presAssocID="{4182344D-D420-417C-B10F-EFC19EC60672}" presName="rect2" presStyleLbl="alignAcc1" presStyleIdx="1" presStyleCnt="2"/>
      <dgm:spPr/>
      <dgm:t>
        <a:bodyPr/>
        <a:lstStyle/>
        <a:p>
          <a:endParaRPr lang="en-US"/>
        </a:p>
      </dgm:t>
    </dgm:pt>
    <dgm:pt modelId="{F8AEB15C-C73D-4E3A-A182-1B9CE86B5A75}" type="pres">
      <dgm:prSet presAssocID="{B4E884B8-BE0B-425D-BEA4-5D1C15A27BCA}" presName="rect1ParTx" presStyleLbl="alignAcc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5804E9-F50D-4009-8845-3F938682C1D9}" type="pres">
      <dgm:prSet presAssocID="{B4E884B8-BE0B-425D-BEA4-5D1C15A27BCA}" presName="rect1ChTx" presStyleLbl="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B227D6-E56C-4EFB-AB18-C179E5603CF5}" type="pres">
      <dgm:prSet presAssocID="{4182344D-D420-417C-B10F-EFC19EC60672}" presName="rect2ParTx" presStyleLbl="alignAcc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02702E-4070-4B76-A9C6-372DDD1BCF41}" type="pres">
      <dgm:prSet presAssocID="{4182344D-D420-417C-B10F-EFC19EC60672}" presName="rect2ChTx" presStyleLbl="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A22622-5025-4CA9-A0B6-5C6BBB952B91}" srcId="{4182344D-D420-417C-B10F-EFC19EC60672}" destId="{91928B96-B34C-44AC-B8A8-E45E32919A39}" srcOrd="2" destOrd="0" parTransId="{F84F79EE-8D39-4B21-BF62-85E0C655C6C1}" sibTransId="{67A72934-0D08-4B03-BDFF-95265E372649}"/>
    <dgm:cxn modelId="{C54212BD-AAF7-4F0C-8A56-3BBD3C7ACB60}" type="presOf" srcId="{9E8B3A4E-B1DE-4819-A709-C34FC3DFDDD2}" destId="{545804E9-F50D-4009-8845-3F938682C1D9}" srcOrd="0" destOrd="0" presId="urn:microsoft.com/office/officeart/2005/8/layout/target3"/>
    <dgm:cxn modelId="{63780DD5-DFE4-4285-B8D7-89AF50A8D9C5}" type="presOf" srcId="{B4E884B8-BE0B-425D-BEA4-5D1C15A27BCA}" destId="{F8AEB15C-C73D-4E3A-A182-1B9CE86B5A75}" srcOrd="1" destOrd="0" presId="urn:microsoft.com/office/officeart/2005/8/layout/target3"/>
    <dgm:cxn modelId="{C5F5743F-4A43-468E-AFCE-64214FCC536F}" srcId="{B4E884B8-BE0B-425D-BEA4-5D1C15A27BCA}" destId="{35C42FEF-0925-436E-BDDC-783520A2A222}" srcOrd="1" destOrd="0" parTransId="{14F533E7-8185-4EFD-B57E-613F8BC6727B}" sibTransId="{DAC565A3-3646-47AE-9E94-D14E71D3F024}"/>
    <dgm:cxn modelId="{341F3C7A-0B53-4DF2-89F1-6E8AA6D9C43A}" srcId="{4182344D-D420-417C-B10F-EFC19EC60672}" destId="{2E741069-4525-4239-9C2E-D291B8350B57}" srcOrd="3" destOrd="0" parTransId="{2DA31D2C-5C68-403B-83ED-F4363D111029}" sibTransId="{B411DF26-3D26-473B-B256-4079AEB30F8C}"/>
    <dgm:cxn modelId="{4652F4D9-A192-4D55-A68C-452C0FC90D0D}" type="presOf" srcId="{35C42FEF-0925-436E-BDDC-783520A2A222}" destId="{545804E9-F50D-4009-8845-3F938682C1D9}" srcOrd="0" destOrd="1" presId="urn:microsoft.com/office/officeart/2005/8/layout/target3"/>
    <dgm:cxn modelId="{342B1122-DE47-43F6-944F-1C5B4F45215D}" type="presOf" srcId="{B4E884B8-BE0B-425D-BEA4-5D1C15A27BCA}" destId="{CD0837BD-74C5-4D58-BD40-E7639C73805D}" srcOrd="0" destOrd="0" presId="urn:microsoft.com/office/officeart/2005/8/layout/target3"/>
    <dgm:cxn modelId="{86FD7EC6-A2FB-4683-8380-7CAD42DD022C}" type="presOf" srcId="{B625717D-EBD7-46F1-80AF-3A68DBCAB53D}" destId="{0702702E-4070-4B76-A9C6-372DDD1BCF41}" srcOrd="0" destOrd="0" presId="urn:microsoft.com/office/officeart/2005/8/layout/target3"/>
    <dgm:cxn modelId="{E8416891-09F2-4391-ACB7-A08818CC8368}" type="presOf" srcId="{4182344D-D420-417C-B10F-EFC19EC60672}" destId="{88B227D6-E56C-4EFB-AB18-C179E5603CF5}" srcOrd="1" destOrd="0" presId="urn:microsoft.com/office/officeart/2005/8/layout/target3"/>
    <dgm:cxn modelId="{8EE09682-3EA8-4ABB-8483-A8DDE64912D4}" srcId="{BB8C5CDC-5125-4B7E-8047-40447460ADF6}" destId="{B4E884B8-BE0B-425D-BEA4-5D1C15A27BCA}" srcOrd="0" destOrd="0" parTransId="{05CCD8C6-B10D-495D-B735-EBC12AAB71F7}" sibTransId="{E4C6FAA0-713B-40F0-8A60-0BA5C95BDD8F}"/>
    <dgm:cxn modelId="{319EE0B9-9748-4119-9DDA-D24897FCF12F}" type="presOf" srcId="{BB8C5CDC-5125-4B7E-8047-40447460ADF6}" destId="{BBF70937-B602-4736-A5BA-68A2345F12A2}" srcOrd="0" destOrd="0" presId="urn:microsoft.com/office/officeart/2005/8/layout/target3"/>
    <dgm:cxn modelId="{680B7790-57FC-4D8F-86E1-B1BC6D9C7517}" srcId="{B4E884B8-BE0B-425D-BEA4-5D1C15A27BCA}" destId="{44869BA6-5684-4361-B400-F1DCCE29F5F7}" srcOrd="2" destOrd="0" parTransId="{566A8CDE-9352-49C6-8C43-9DABAFE93049}" sibTransId="{33A06B8B-9303-4362-B99E-BBFB94CB4625}"/>
    <dgm:cxn modelId="{B23461E3-4290-4B12-99CC-C5FE38171387}" type="presOf" srcId="{2E741069-4525-4239-9C2E-D291B8350B57}" destId="{0702702E-4070-4B76-A9C6-372DDD1BCF41}" srcOrd="0" destOrd="3" presId="urn:microsoft.com/office/officeart/2005/8/layout/target3"/>
    <dgm:cxn modelId="{3DA25B57-4CFA-4ED4-BF50-90826272C35C}" type="presOf" srcId="{7BEED82A-20AD-4F2C-98E5-03A01938C0FA}" destId="{0702702E-4070-4B76-A9C6-372DDD1BCF41}" srcOrd="0" destOrd="1" presId="urn:microsoft.com/office/officeart/2005/8/layout/target3"/>
    <dgm:cxn modelId="{33B3C61D-6A9D-4981-BEA1-5CECC6271214}" srcId="{B4E884B8-BE0B-425D-BEA4-5D1C15A27BCA}" destId="{9E8B3A4E-B1DE-4819-A709-C34FC3DFDDD2}" srcOrd="0" destOrd="0" parTransId="{8849E71E-F53A-408C-BCD2-8C3174D1722B}" sibTransId="{35971F13-E865-43C5-80C6-E69054FD291B}"/>
    <dgm:cxn modelId="{255927AE-33C2-4331-9CC4-35D3208F05B5}" type="presOf" srcId="{F4AC7F05-DFE7-48F1-8737-9B0D621A5EC4}" destId="{545804E9-F50D-4009-8845-3F938682C1D9}" srcOrd="0" destOrd="3" presId="urn:microsoft.com/office/officeart/2005/8/layout/target3"/>
    <dgm:cxn modelId="{8885388A-D602-4473-9232-E8C25494A636}" srcId="{BB8C5CDC-5125-4B7E-8047-40447460ADF6}" destId="{4182344D-D420-417C-B10F-EFC19EC60672}" srcOrd="1" destOrd="0" parTransId="{FA9ACB68-3093-4978-A646-0B728EF57E2A}" sibTransId="{A504EA3F-1396-420C-AA8E-611CE60BF765}"/>
    <dgm:cxn modelId="{729DE683-B6A6-41A7-96AE-5E2270D8D79F}" srcId="{B4E884B8-BE0B-425D-BEA4-5D1C15A27BCA}" destId="{F4AC7F05-DFE7-48F1-8737-9B0D621A5EC4}" srcOrd="3" destOrd="0" parTransId="{37F633C2-A205-48A6-94D1-319E3D324E04}" sibTransId="{8CB96171-0E2E-4E02-99C8-FDB4343F4E78}"/>
    <dgm:cxn modelId="{E85A673B-46D9-4553-B056-3822F3CFC527}" srcId="{4182344D-D420-417C-B10F-EFC19EC60672}" destId="{B625717D-EBD7-46F1-80AF-3A68DBCAB53D}" srcOrd="0" destOrd="0" parTransId="{B32448B2-B80F-445B-9F1C-33885ED1F0F1}" sibTransId="{6E4ADFF8-7EB0-495C-897B-FE5273521DDB}"/>
    <dgm:cxn modelId="{76CE6EF8-8546-4219-8D61-0305D460A6DC}" type="presOf" srcId="{91928B96-B34C-44AC-B8A8-E45E32919A39}" destId="{0702702E-4070-4B76-A9C6-372DDD1BCF41}" srcOrd="0" destOrd="2" presId="urn:microsoft.com/office/officeart/2005/8/layout/target3"/>
    <dgm:cxn modelId="{9ACBC421-C811-4906-93F9-771F8E770D89}" type="presOf" srcId="{4182344D-D420-417C-B10F-EFC19EC60672}" destId="{2F7D6C5E-4543-427B-8E79-8ED7728BC197}" srcOrd="0" destOrd="0" presId="urn:microsoft.com/office/officeart/2005/8/layout/target3"/>
    <dgm:cxn modelId="{CD59941E-CAA2-4A31-966B-900E375B9038}" srcId="{4182344D-D420-417C-B10F-EFC19EC60672}" destId="{7BEED82A-20AD-4F2C-98E5-03A01938C0FA}" srcOrd="1" destOrd="0" parTransId="{7800609B-022A-4DFC-9FCF-BA47FEF905CA}" sibTransId="{591628AD-BCC2-431F-BCD7-A37F899AEC3A}"/>
    <dgm:cxn modelId="{C589EBFA-00C7-4519-A4BE-5A04D5DCAC9C}" type="presOf" srcId="{44869BA6-5684-4361-B400-F1DCCE29F5F7}" destId="{545804E9-F50D-4009-8845-3F938682C1D9}" srcOrd="0" destOrd="2" presId="urn:microsoft.com/office/officeart/2005/8/layout/target3"/>
    <dgm:cxn modelId="{4C2ED702-0BAC-4263-9E80-F108E4955904}" type="presParOf" srcId="{BBF70937-B602-4736-A5BA-68A2345F12A2}" destId="{EBC010E7-2E0F-45AE-826B-6B4C90FC7ECB}" srcOrd="0" destOrd="0" presId="urn:microsoft.com/office/officeart/2005/8/layout/target3"/>
    <dgm:cxn modelId="{7D9A0032-8316-4FE3-9596-AC9F944C0AE7}" type="presParOf" srcId="{BBF70937-B602-4736-A5BA-68A2345F12A2}" destId="{DECDF7FF-8BDF-4CEC-8D63-1E51DEB0676B}" srcOrd="1" destOrd="0" presId="urn:microsoft.com/office/officeart/2005/8/layout/target3"/>
    <dgm:cxn modelId="{5EBDE6E0-3C4B-45C5-84C9-6C92B6FEA4A4}" type="presParOf" srcId="{BBF70937-B602-4736-A5BA-68A2345F12A2}" destId="{CD0837BD-74C5-4D58-BD40-E7639C73805D}" srcOrd="2" destOrd="0" presId="urn:microsoft.com/office/officeart/2005/8/layout/target3"/>
    <dgm:cxn modelId="{02C63260-BAA2-451F-8FCA-18ED31F49FBD}" type="presParOf" srcId="{BBF70937-B602-4736-A5BA-68A2345F12A2}" destId="{96E0F672-7901-47AC-BCDC-D4EEF99898F5}" srcOrd="3" destOrd="0" presId="urn:microsoft.com/office/officeart/2005/8/layout/target3"/>
    <dgm:cxn modelId="{6D3DAF51-B52F-4B37-9744-401126894E91}" type="presParOf" srcId="{BBF70937-B602-4736-A5BA-68A2345F12A2}" destId="{1F0CD0E8-7554-4A60-A5A7-1B9D8BA7E51C}" srcOrd="4" destOrd="0" presId="urn:microsoft.com/office/officeart/2005/8/layout/target3"/>
    <dgm:cxn modelId="{8AC4B610-5098-4A70-A9C4-2A4F74C2ED7D}" type="presParOf" srcId="{BBF70937-B602-4736-A5BA-68A2345F12A2}" destId="{2F7D6C5E-4543-427B-8E79-8ED7728BC197}" srcOrd="5" destOrd="0" presId="urn:microsoft.com/office/officeart/2005/8/layout/target3"/>
    <dgm:cxn modelId="{A53B40E0-6A6E-444E-BBD3-AECA108CA002}" type="presParOf" srcId="{BBF70937-B602-4736-A5BA-68A2345F12A2}" destId="{F8AEB15C-C73D-4E3A-A182-1B9CE86B5A75}" srcOrd="6" destOrd="0" presId="urn:microsoft.com/office/officeart/2005/8/layout/target3"/>
    <dgm:cxn modelId="{27F6FDB5-D6B4-4512-B00B-870F6B8AA64F}" type="presParOf" srcId="{BBF70937-B602-4736-A5BA-68A2345F12A2}" destId="{545804E9-F50D-4009-8845-3F938682C1D9}" srcOrd="7" destOrd="0" presId="urn:microsoft.com/office/officeart/2005/8/layout/target3"/>
    <dgm:cxn modelId="{E1FF3540-20F0-4014-A5F4-EC61FE124E38}" type="presParOf" srcId="{BBF70937-B602-4736-A5BA-68A2345F12A2}" destId="{88B227D6-E56C-4EFB-AB18-C179E5603CF5}" srcOrd="8" destOrd="0" presId="urn:microsoft.com/office/officeart/2005/8/layout/target3"/>
    <dgm:cxn modelId="{95B6B5D6-02B1-4B12-AFBA-A77652B60098}" type="presParOf" srcId="{BBF70937-B602-4736-A5BA-68A2345F12A2}" destId="{0702702E-4070-4B76-A9C6-372DDD1BCF41}" srcOrd="9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B99280-885E-4EDD-A9FB-1473A43BC7D2}">
      <dsp:nvSpPr>
        <dsp:cNvPr id="0" name=""/>
        <dsp:cNvSpPr/>
      </dsp:nvSpPr>
      <dsp:spPr>
        <a:xfrm>
          <a:off x="594546" y="561154"/>
          <a:ext cx="685854" cy="685854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Beneficiary Validated Data</a:t>
          </a:r>
          <a:endParaRPr lang="en-US" sz="600" kern="1200" dirty="0"/>
        </a:p>
      </dsp:txBody>
      <dsp:txXfrm>
        <a:off x="732433" y="721812"/>
        <a:ext cx="410080" cy="352543"/>
      </dsp:txXfrm>
    </dsp:sp>
    <dsp:sp modelId="{DCAD6917-8091-4F0A-90EE-6F6159820845}">
      <dsp:nvSpPr>
        <dsp:cNvPr id="0" name=""/>
        <dsp:cNvSpPr/>
      </dsp:nvSpPr>
      <dsp:spPr>
        <a:xfrm>
          <a:off x="195503" y="399042"/>
          <a:ext cx="498803" cy="498803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MCTS</a:t>
          </a:r>
          <a:endParaRPr lang="en-US" sz="600" kern="1200" dirty="0"/>
        </a:p>
      </dsp:txBody>
      <dsp:txXfrm>
        <a:off x="321078" y="525376"/>
        <a:ext cx="247653" cy="246135"/>
      </dsp:txXfrm>
    </dsp:sp>
    <dsp:sp modelId="{CE39AF76-D4F1-46D4-B5E5-1B42E6F7D0B4}">
      <dsp:nvSpPr>
        <dsp:cNvPr id="0" name=""/>
        <dsp:cNvSpPr/>
      </dsp:nvSpPr>
      <dsp:spPr>
        <a:xfrm rot="20700000">
          <a:off x="474884" y="54919"/>
          <a:ext cx="488725" cy="488725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 smtClean="0"/>
            <a:t>PFMS</a:t>
          </a:r>
          <a:endParaRPr lang="en-US" sz="600" kern="1200" dirty="0"/>
        </a:p>
      </dsp:txBody>
      <dsp:txXfrm rot="-20700000">
        <a:off x="582075" y="162111"/>
        <a:ext cx="274341" cy="274341"/>
      </dsp:txXfrm>
    </dsp:sp>
    <dsp:sp modelId="{1E86111C-581E-42B2-898E-6B60A8C5CF17}">
      <dsp:nvSpPr>
        <dsp:cNvPr id="0" name=""/>
        <dsp:cNvSpPr/>
      </dsp:nvSpPr>
      <dsp:spPr>
        <a:xfrm>
          <a:off x="514613" y="471985"/>
          <a:ext cx="877894" cy="877894"/>
        </a:xfrm>
        <a:prstGeom prst="circularArrow">
          <a:avLst>
            <a:gd name="adj1" fmla="val 4687"/>
            <a:gd name="adj2" fmla="val 299029"/>
            <a:gd name="adj3" fmla="val 2338252"/>
            <a:gd name="adj4" fmla="val 16319255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21DC7A-985C-4C58-8FEC-EB49EC1C8608}">
      <dsp:nvSpPr>
        <dsp:cNvPr id="0" name=""/>
        <dsp:cNvSpPr/>
      </dsp:nvSpPr>
      <dsp:spPr>
        <a:xfrm>
          <a:off x="107166" y="301324"/>
          <a:ext cx="637845" cy="63784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29AF13-FAC7-4942-BB5C-DEDF0096872E}">
      <dsp:nvSpPr>
        <dsp:cNvPr id="0" name=""/>
        <dsp:cNvSpPr/>
      </dsp:nvSpPr>
      <dsp:spPr>
        <a:xfrm>
          <a:off x="361836" y="-39481"/>
          <a:ext cx="687725" cy="68772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8FBA85-FE67-4B49-B696-D060E472ABCB}">
      <dsp:nvSpPr>
        <dsp:cNvPr id="0" name=""/>
        <dsp:cNvSpPr/>
      </dsp:nvSpPr>
      <dsp:spPr>
        <a:xfrm>
          <a:off x="587" y="651017"/>
          <a:ext cx="1476123" cy="569783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0D9BD3-83DF-4E91-A649-78757D36360B}">
      <dsp:nvSpPr>
        <dsp:cNvPr id="0" name=""/>
        <dsp:cNvSpPr/>
      </dsp:nvSpPr>
      <dsp:spPr>
        <a:xfrm>
          <a:off x="385582" y="776175"/>
          <a:ext cx="1246504" cy="5697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Record events &amp; tag beneficiaries in PFMS HM</a:t>
          </a:r>
          <a:endParaRPr lang="en-US" sz="900" kern="1200" dirty="0"/>
        </a:p>
      </dsp:txBody>
      <dsp:txXfrm>
        <a:off x="402270" y="792863"/>
        <a:ext cx="1213128" cy="536407"/>
      </dsp:txXfrm>
    </dsp:sp>
    <dsp:sp modelId="{72608785-8B1E-444B-ADD1-35B3CB735DD3}">
      <dsp:nvSpPr>
        <dsp:cNvPr id="0" name=""/>
        <dsp:cNvSpPr/>
      </dsp:nvSpPr>
      <dsp:spPr>
        <a:xfrm>
          <a:off x="1686648" y="651017"/>
          <a:ext cx="1476123" cy="569783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08E75F-8239-4756-A3A8-8E13DBCC91DF}">
      <dsp:nvSpPr>
        <dsp:cNvPr id="0" name=""/>
        <dsp:cNvSpPr/>
      </dsp:nvSpPr>
      <dsp:spPr>
        <a:xfrm>
          <a:off x="2080281" y="793463"/>
          <a:ext cx="1246504" cy="5697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Review &amp; approve the event records for payment </a:t>
          </a:r>
          <a:endParaRPr lang="en-US" sz="900" kern="1200" dirty="0"/>
        </a:p>
      </dsp:txBody>
      <dsp:txXfrm>
        <a:off x="2096969" y="810151"/>
        <a:ext cx="1213128" cy="536407"/>
      </dsp:txXfrm>
    </dsp:sp>
    <dsp:sp modelId="{3596CDC0-1FC8-46D9-8E88-9BC4A945014A}">
      <dsp:nvSpPr>
        <dsp:cNvPr id="0" name=""/>
        <dsp:cNvSpPr/>
      </dsp:nvSpPr>
      <dsp:spPr>
        <a:xfrm>
          <a:off x="3372710" y="651017"/>
          <a:ext cx="1476123" cy="569783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82C576-8DDB-4B3D-8197-DC924332E9AF}">
      <dsp:nvSpPr>
        <dsp:cNvPr id="0" name=""/>
        <dsp:cNvSpPr/>
      </dsp:nvSpPr>
      <dsp:spPr>
        <a:xfrm>
          <a:off x="3766343" y="793463"/>
          <a:ext cx="1246504" cy="56978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/>
            <a:t>Generate reports and track progress based on collected metrics</a:t>
          </a:r>
          <a:endParaRPr lang="en-US" sz="900" kern="1200" dirty="0"/>
        </a:p>
      </dsp:txBody>
      <dsp:txXfrm>
        <a:off x="3783031" y="810151"/>
        <a:ext cx="1213128" cy="5364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7E6F1-7B52-474B-B79B-6B4FCEBA7620}">
      <dsp:nvSpPr>
        <dsp:cNvPr id="0" name=""/>
        <dsp:cNvSpPr/>
      </dsp:nvSpPr>
      <dsp:spPr>
        <a:xfrm>
          <a:off x="2669" y="193463"/>
          <a:ext cx="1213948" cy="5183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Data Entry</a:t>
          </a:r>
          <a:endParaRPr lang="en-US" sz="1200" kern="1200" dirty="0"/>
        </a:p>
      </dsp:txBody>
      <dsp:txXfrm>
        <a:off x="2669" y="193463"/>
        <a:ext cx="1213948" cy="345600"/>
      </dsp:txXfrm>
    </dsp:sp>
    <dsp:sp modelId="{CD51DC90-279B-4E0D-A0C7-5544555F8BE6}">
      <dsp:nvSpPr>
        <dsp:cNvPr id="0" name=""/>
        <dsp:cNvSpPr/>
      </dsp:nvSpPr>
      <dsp:spPr>
        <a:xfrm>
          <a:off x="251309" y="539063"/>
          <a:ext cx="1213948" cy="1316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Record events, beneficiaries and submits data</a:t>
          </a:r>
          <a:endParaRPr lang="en-US" sz="1200" kern="1200" dirty="0"/>
        </a:p>
      </dsp:txBody>
      <dsp:txXfrm>
        <a:off x="286864" y="574618"/>
        <a:ext cx="1142838" cy="1245140"/>
      </dsp:txXfrm>
    </dsp:sp>
    <dsp:sp modelId="{C41F7C17-12E7-4C1B-AD47-6356E730180E}">
      <dsp:nvSpPr>
        <dsp:cNvPr id="0" name=""/>
        <dsp:cNvSpPr/>
      </dsp:nvSpPr>
      <dsp:spPr>
        <a:xfrm>
          <a:off x="1400648" y="215144"/>
          <a:ext cx="390143" cy="3022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/>
        </a:p>
      </dsp:txBody>
      <dsp:txXfrm>
        <a:off x="1400648" y="275591"/>
        <a:ext cx="299472" cy="181343"/>
      </dsp:txXfrm>
    </dsp:sp>
    <dsp:sp modelId="{0D577182-1440-4D5A-B405-C3031AFE4875}">
      <dsp:nvSpPr>
        <dsp:cNvPr id="0" name=""/>
        <dsp:cNvSpPr/>
      </dsp:nvSpPr>
      <dsp:spPr>
        <a:xfrm>
          <a:off x="1952738" y="193463"/>
          <a:ext cx="1213948" cy="5183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Approval</a:t>
          </a:r>
          <a:endParaRPr lang="en-US" sz="1200" kern="1200" dirty="0"/>
        </a:p>
      </dsp:txBody>
      <dsp:txXfrm>
        <a:off x="1952738" y="193463"/>
        <a:ext cx="1213948" cy="345600"/>
      </dsp:txXfrm>
    </dsp:sp>
    <dsp:sp modelId="{2E8CB592-6EBB-4208-AD29-D1CA2D5805F0}">
      <dsp:nvSpPr>
        <dsp:cNvPr id="0" name=""/>
        <dsp:cNvSpPr/>
      </dsp:nvSpPr>
      <dsp:spPr>
        <a:xfrm>
          <a:off x="2201378" y="539063"/>
          <a:ext cx="1213948" cy="1316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Bulk approval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Detailed record verification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Payment Rejection</a:t>
          </a:r>
          <a:endParaRPr lang="en-US" sz="1200" kern="1200" dirty="0"/>
        </a:p>
      </dsp:txBody>
      <dsp:txXfrm>
        <a:off x="2236933" y="574618"/>
        <a:ext cx="1142838" cy="1245140"/>
      </dsp:txXfrm>
    </dsp:sp>
    <dsp:sp modelId="{8BBC25FD-5E30-45B2-85BE-DDC7774EBD52}">
      <dsp:nvSpPr>
        <dsp:cNvPr id="0" name=""/>
        <dsp:cNvSpPr/>
      </dsp:nvSpPr>
      <dsp:spPr>
        <a:xfrm>
          <a:off x="3350716" y="215144"/>
          <a:ext cx="390143" cy="30223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/>
        </a:p>
      </dsp:txBody>
      <dsp:txXfrm>
        <a:off x="3350716" y="275591"/>
        <a:ext cx="299472" cy="181343"/>
      </dsp:txXfrm>
    </dsp:sp>
    <dsp:sp modelId="{96746FBA-4120-45E9-B362-556798BCA42F}">
      <dsp:nvSpPr>
        <dsp:cNvPr id="0" name=""/>
        <dsp:cNvSpPr/>
      </dsp:nvSpPr>
      <dsp:spPr>
        <a:xfrm>
          <a:off x="3902807" y="193463"/>
          <a:ext cx="1213948" cy="5183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Management</a:t>
          </a:r>
          <a:endParaRPr lang="en-US" sz="1200" kern="1200" dirty="0"/>
        </a:p>
      </dsp:txBody>
      <dsp:txXfrm>
        <a:off x="3902807" y="193463"/>
        <a:ext cx="1213948" cy="345600"/>
      </dsp:txXfrm>
    </dsp:sp>
    <dsp:sp modelId="{D941EB0F-5F02-4B0F-9F57-1671C51DFD17}">
      <dsp:nvSpPr>
        <dsp:cNvPr id="0" name=""/>
        <dsp:cNvSpPr/>
      </dsp:nvSpPr>
      <dsp:spPr>
        <a:xfrm>
          <a:off x="4151447" y="539063"/>
          <a:ext cx="1213948" cy="131625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Reports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Dashboard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Analytics</a:t>
          </a:r>
          <a:endParaRPr lang="en-US" sz="1200" kern="1200" dirty="0"/>
        </a:p>
      </dsp:txBody>
      <dsp:txXfrm>
        <a:off x="4187002" y="574618"/>
        <a:ext cx="1142838" cy="124514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3F885F-4F4C-4572-AF23-17558AF75782}">
      <dsp:nvSpPr>
        <dsp:cNvPr id="0" name=""/>
        <dsp:cNvSpPr/>
      </dsp:nvSpPr>
      <dsp:spPr>
        <a:xfrm>
          <a:off x="209517" y="1366875"/>
          <a:ext cx="570135" cy="704980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D259B4-B51C-4B51-8768-6FB134C274F7}">
      <dsp:nvSpPr>
        <dsp:cNvPr id="0" name=""/>
        <dsp:cNvSpPr/>
      </dsp:nvSpPr>
      <dsp:spPr>
        <a:xfrm>
          <a:off x="51102" y="1547206"/>
          <a:ext cx="742351" cy="73782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b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accent6"/>
              </a:solidFill>
            </a:rPr>
            <a:t>Payment Channels</a:t>
          </a:r>
          <a:endParaRPr lang="en-US" sz="1400" kern="1200" dirty="0">
            <a:solidFill>
              <a:schemeClr val="accent6"/>
            </a:solidFill>
          </a:endParaRPr>
        </a:p>
      </dsp:txBody>
      <dsp:txXfrm>
        <a:off x="51102" y="1547206"/>
        <a:ext cx="742351" cy="737826"/>
      </dsp:txXfrm>
    </dsp:sp>
    <dsp:sp modelId="{B19A2A9F-20BB-41D6-BF16-01B2716A16F8}">
      <dsp:nvSpPr>
        <dsp:cNvPr id="0" name=""/>
        <dsp:cNvSpPr/>
      </dsp:nvSpPr>
      <dsp:spPr>
        <a:xfrm>
          <a:off x="810620" y="1043024"/>
          <a:ext cx="332021" cy="332021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E0459E-7144-4FDA-AA86-2F47A3508D22}">
      <dsp:nvSpPr>
        <dsp:cNvPr id="0" name=""/>
        <dsp:cNvSpPr/>
      </dsp:nvSpPr>
      <dsp:spPr>
        <a:xfrm>
          <a:off x="1142642" y="1043024"/>
          <a:ext cx="484432" cy="3320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20320" rIns="40640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PPA</a:t>
          </a:r>
          <a:endParaRPr lang="en-US" sz="1600" kern="1200" dirty="0"/>
        </a:p>
      </dsp:txBody>
      <dsp:txXfrm>
        <a:off x="1142642" y="1043024"/>
        <a:ext cx="484432" cy="332021"/>
      </dsp:txXfrm>
    </dsp:sp>
    <dsp:sp modelId="{6CD98F96-2B2A-4CBC-AA1A-A1EA29FAC432}">
      <dsp:nvSpPr>
        <dsp:cNvPr id="0" name=""/>
        <dsp:cNvSpPr/>
      </dsp:nvSpPr>
      <dsp:spPr>
        <a:xfrm>
          <a:off x="810620" y="1434810"/>
          <a:ext cx="332021" cy="332021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E5A6A4-EA6C-49AF-A306-7BF3F80EB97C}">
      <dsp:nvSpPr>
        <dsp:cNvPr id="0" name=""/>
        <dsp:cNvSpPr/>
      </dsp:nvSpPr>
      <dsp:spPr>
        <a:xfrm>
          <a:off x="1142642" y="1434810"/>
          <a:ext cx="484432" cy="3320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20320" rIns="40640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DSC</a:t>
          </a:r>
          <a:endParaRPr lang="en-US" sz="1600" kern="1200" dirty="0"/>
        </a:p>
      </dsp:txBody>
      <dsp:txXfrm>
        <a:off x="1142642" y="1434810"/>
        <a:ext cx="484432" cy="332021"/>
      </dsp:txXfrm>
    </dsp:sp>
    <dsp:sp modelId="{EAFF2F68-425C-49C3-B34C-AD574720356A}">
      <dsp:nvSpPr>
        <dsp:cNvPr id="0" name=""/>
        <dsp:cNvSpPr/>
      </dsp:nvSpPr>
      <dsp:spPr>
        <a:xfrm>
          <a:off x="810620" y="1826596"/>
          <a:ext cx="332021" cy="332021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FA30AB-E70E-4EB4-A7A9-4F00817D579F}">
      <dsp:nvSpPr>
        <dsp:cNvPr id="0" name=""/>
        <dsp:cNvSpPr/>
      </dsp:nvSpPr>
      <dsp:spPr>
        <a:xfrm>
          <a:off x="1142642" y="1826596"/>
          <a:ext cx="484432" cy="3320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20320" rIns="40640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INB</a:t>
          </a:r>
          <a:endParaRPr lang="en-US" sz="1600" kern="1200" dirty="0"/>
        </a:p>
      </dsp:txBody>
      <dsp:txXfrm>
        <a:off x="1142642" y="1826596"/>
        <a:ext cx="484432" cy="33202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E0C369-385D-4690-B53C-7EB895377A6F}">
      <dsp:nvSpPr>
        <dsp:cNvPr id="0" name=""/>
        <dsp:cNvSpPr/>
      </dsp:nvSpPr>
      <dsp:spPr>
        <a:xfrm rot="5400000">
          <a:off x="-82181" y="86623"/>
          <a:ext cx="547877" cy="3835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ep 1</a:t>
          </a:r>
          <a:endParaRPr lang="en-US" sz="1100" kern="1200" dirty="0"/>
        </a:p>
      </dsp:txBody>
      <dsp:txXfrm rot="-5400000">
        <a:off x="2" y="196198"/>
        <a:ext cx="383513" cy="164364"/>
      </dsp:txXfrm>
    </dsp:sp>
    <dsp:sp modelId="{0D1B6C12-7632-4C53-972B-1E043E477974}">
      <dsp:nvSpPr>
        <dsp:cNvPr id="0" name=""/>
        <dsp:cNvSpPr/>
      </dsp:nvSpPr>
      <dsp:spPr>
        <a:xfrm rot="5400000">
          <a:off x="3988841" y="-3600884"/>
          <a:ext cx="356307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MCTS</a:t>
          </a:r>
          <a:r>
            <a:rPr lang="en-US" sz="1400" kern="1200" baseline="0" dirty="0" smtClean="0"/>
            <a:t> records pushed into PFMS (selected fields only)</a:t>
          </a:r>
          <a:endParaRPr lang="en-US" sz="1400" kern="1200" dirty="0"/>
        </a:p>
      </dsp:txBody>
      <dsp:txXfrm rot="-5400000">
        <a:off x="383514" y="21836"/>
        <a:ext cx="7549569" cy="321521"/>
      </dsp:txXfrm>
    </dsp:sp>
    <dsp:sp modelId="{9F44B02C-2FE7-4CB6-8A3F-A9711256862E}">
      <dsp:nvSpPr>
        <dsp:cNvPr id="0" name=""/>
        <dsp:cNvSpPr/>
      </dsp:nvSpPr>
      <dsp:spPr>
        <a:xfrm rot="5400000">
          <a:off x="-82181" y="558460"/>
          <a:ext cx="547877" cy="383513"/>
        </a:xfrm>
        <a:prstGeom prst="chevron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ep 2</a:t>
          </a:r>
          <a:endParaRPr lang="en-US" sz="1100" kern="1200" dirty="0"/>
        </a:p>
      </dsp:txBody>
      <dsp:txXfrm rot="-5400000">
        <a:off x="2" y="668035"/>
        <a:ext cx="383513" cy="164364"/>
      </dsp:txXfrm>
    </dsp:sp>
    <dsp:sp modelId="{E92ECFC8-8FBC-4B80-A789-7BB30C326C43}">
      <dsp:nvSpPr>
        <dsp:cNvPr id="0" name=""/>
        <dsp:cNvSpPr/>
      </dsp:nvSpPr>
      <dsp:spPr>
        <a:xfrm rot="5400000">
          <a:off x="3988934" y="-3129141"/>
          <a:ext cx="356120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Agency data operator selects the beneficiaries</a:t>
          </a:r>
          <a:r>
            <a:rPr lang="en-US" sz="1400" kern="1200" baseline="0" dirty="0" smtClean="0"/>
            <a:t> from MCTS – PFMS master to import into Agency.</a:t>
          </a:r>
          <a:endParaRPr lang="en-US" sz="1400" kern="1200" dirty="0"/>
        </a:p>
      </dsp:txBody>
      <dsp:txXfrm rot="-5400000">
        <a:off x="383513" y="493664"/>
        <a:ext cx="7549578" cy="321352"/>
      </dsp:txXfrm>
    </dsp:sp>
    <dsp:sp modelId="{DB9A286D-A358-4631-8B55-DB4ECD184F4C}">
      <dsp:nvSpPr>
        <dsp:cNvPr id="0" name=""/>
        <dsp:cNvSpPr/>
      </dsp:nvSpPr>
      <dsp:spPr>
        <a:xfrm rot="5400000">
          <a:off x="-82181" y="1030297"/>
          <a:ext cx="547877" cy="3835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ep 3</a:t>
          </a:r>
          <a:endParaRPr lang="en-US" sz="1100" kern="1200" dirty="0"/>
        </a:p>
      </dsp:txBody>
      <dsp:txXfrm rot="-5400000">
        <a:off x="2" y="1139872"/>
        <a:ext cx="383513" cy="164364"/>
      </dsp:txXfrm>
    </dsp:sp>
    <dsp:sp modelId="{7583C80F-7AB0-4618-9B4F-21BBFA085DD3}">
      <dsp:nvSpPr>
        <dsp:cNvPr id="0" name=""/>
        <dsp:cNvSpPr/>
      </dsp:nvSpPr>
      <dsp:spPr>
        <a:xfrm rot="5400000">
          <a:off x="3988934" y="-2657305"/>
          <a:ext cx="356120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Beneficiaries</a:t>
          </a:r>
          <a:r>
            <a:rPr lang="en-US" sz="1400" kern="1200" baseline="0" dirty="0" smtClean="0"/>
            <a:t> are mapped with agency.</a:t>
          </a:r>
          <a:endParaRPr lang="en-US" sz="1400" kern="1200" dirty="0"/>
        </a:p>
      </dsp:txBody>
      <dsp:txXfrm rot="-5400000">
        <a:off x="383513" y="965500"/>
        <a:ext cx="7549578" cy="321352"/>
      </dsp:txXfrm>
    </dsp:sp>
    <dsp:sp modelId="{535F204C-AC4E-46DC-9F26-D690F0113CCC}">
      <dsp:nvSpPr>
        <dsp:cNvPr id="0" name=""/>
        <dsp:cNvSpPr/>
      </dsp:nvSpPr>
      <dsp:spPr>
        <a:xfrm rot="5400000">
          <a:off x="-82181" y="1502134"/>
          <a:ext cx="547877" cy="3835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ep 4</a:t>
          </a:r>
          <a:endParaRPr lang="en-US" sz="1100" kern="1200" dirty="0"/>
        </a:p>
      </dsp:txBody>
      <dsp:txXfrm rot="-5400000">
        <a:off x="2" y="1611709"/>
        <a:ext cx="383513" cy="164364"/>
      </dsp:txXfrm>
    </dsp:sp>
    <dsp:sp modelId="{EDDAB9B4-1BCC-4D53-B2FC-B6E3E338B457}">
      <dsp:nvSpPr>
        <dsp:cNvPr id="0" name=""/>
        <dsp:cNvSpPr/>
      </dsp:nvSpPr>
      <dsp:spPr>
        <a:xfrm rot="5400000">
          <a:off x="3988934" y="-2185468"/>
          <a:ext cx="356120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Agency Operator verifies / updates beneficiary data and enters bank account information.</a:t>
          </a:r>
          <a:endParaRPr lang="en-US" sz="1400" kern="1200" dirty="0"/>
        </a:p>
      </dsp:txBody>
      <dsp:txXfrm rot="-5400000">
        <a:off x="383513" y="1437337"/>
        <a:ext cx="7549578" cy="321352"/>
      </dsp:txXfrm>
    </dsp:sp>
    <dsp:sp modelId="{53F3E2A6-6BB8-4FB5-8852-EE01AE1EA209}">
      <dsp:nvSpPr>
        <dsp:cNvPr id="0" name=""/>
        <dsp:cNvSpPr/>
      </dsp:nvSpPr>
      <dsp:spPr>
        <a:xfrm rot="5400000">
          <a:off x="-82181" y="1973970"/>
          <a:ext cx="547877" cy="3835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ep 5</a:t>
          </a:r>
          <a:endParaRPr lang="en-US" sz="1100" kern="1200" dirty="0"/>
        </a:p>
      </dsp:txBody>
      <dsp:txXfrm rot="-5400000">
        <a:off x="2" y="2083545"/>
        <a:ext cx="383513" cy="164364"/>
      </dsp:txXfrm>
    </dsp:sp>
    <dsp:sp modelId="{D22AC064-F8C2-4A44-9080-C0937C71C213}">
      <dsp:nvSpPr>
        <dsp:cNvPr id="0" name=""/>
        <dsp:cNvSpPr/>
      </dsp:nvSpPr>
      <dsp:spPr>
        <a:xfrm rot="5400000">
          <a:off x="3988934" y="-1713631"/>
          <a:ext cx="356120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Bank account information validated by bank and sent to PFMS.</a:t>
          </a:r>
          <a:endParaRPr lang="en-US" sz="1400" kern="1200" dirty="0"/>
        </a:p>
      </dsp:txBody>
      <dsp:txXfrm rot="-5400000">
        <a:off x="383513" y="1909174"/>
        <a:ext cx="7549578" cy="321352"/>
      </dsp:txXfrm>
    </dsp:sp>
    <dsp:sp modelId="{36D262F2-4270-48D9-9DF9-4AB5706E9E10}">
      <dsp:nvSpPr>
        <dsp:cNvPr id="0" name=""/>
        <dsp:cNvSpPr/>
      </dsp:nvSpPr>
      <dsp:spPr>
        <a:xfrm rot="5400000">
          <a:off x="-82181" y="2445807"/>
          <a:ext cx="547877" cy="3835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ep 6</a:t>
          </a:r>
          <a:endParaRPr lang="en-US" sz="1100" kern="1200" dirty="0"/>
        </a:p>
      </dsp:txBody>
      <dsp:txXfrm rot="-5400000">
        <a:off x="2" y="2555382"/>
        <a:ext cx="383513" cy="164364"/>
      </dsp:txXfrm>
    </dsp:sp>
    <dsp:sp modelId="{8489E2ED-EDEC-4FE7-9907-E07F3B2B7D0C}">
      <dsp:nvSpPr>
        <dsp:cNvPr id="0" name=""/>
        <dsp:cNvSpPr/>
      </dsp:nvSpPr>
      <dsp:spPr>
        <a:xfrm rot="5400000">
          <a:off x="3988934" y="-1241794"/>
          <a:ext cx="356120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Agency</a:t>
          </a:r>
          <a:r>
            <a:rPr lang="en-US" sz="1400" kern="1200" baseline="0" dirty="0" smtClean="0"/>
            <a:t> operator accepts bank validation or returns original bank details and submits</a:t>
          </a:r>
          <a:endParaRPr lang="en-US" sz="1400" kern="1200" dirty="0"/>
        </a:p>
      </dsp:txBody>
      <dsp:txXfrm rot="-5400000">
        <a:off x="383513" y="2381011"/>
        <a:ext cx="7549578" cy="321352"/>
      </dsp:txXfrm>
    </dsp:sp>
    <dsp:sp modelId="{C1178323-8C4D-4FAF-B287-9FB666457FB0}">
      <dsp:nvSpPr>
        <dsp:cNvPr id="0" name=""/>
        <dsp:cNvSpPr/>
      </dsp:nvSpPr>
      <dsp:spPr>
        <a:xfrm rot="5400000">
          <a:off x="-82181" y="2917644"/>
          <a:ext cx="547877" cy="3835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tep 7</a:t>
          </a:r>
          <a:endParaRPr lang="en-US" sz="1100" kern="1200" dirty="0"/>
        </a:p>
      </dsp:txBody>
      <dsp:txXfrm rot="-5400000">
        <a:off x="2" y="3027219"/>
        <a:ext cx="383513" cy="164364"/>
      </dsp:txXfrm>
    </dsp:sp>
    <dsp:sp modelId="{E17A9D64-ED21-41C1-AD51-AA81B905E35D}">
      <dsp:nvSpPr>
        <dsp:cNvPr id="0" name=""/>
        <dsp:cNvSpPr/>
      </dsp:nvSpPr>
      <dsp:spPr>
        <a:xfrm rot="5400000">
          <a:off x="3988934" y="-769958"/>
          <a:ext cx="356120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Agency approver approves beneficiary</a:t>
          </a:r>
          <a:endParaRPr lang="en-US" sz="1400" kern="1200" dirty="0"/>
        </a:p>
      </dsp:txBody>
      <dsp:txXfrm rot="-5400000">
        <a:off x="383513" y="2852847"/>
        <a:ext cx="7549578" cy="321352"/>
      </dsp:txXfrm>
    </dsp:sp>
    <dsp:sp modelId="{6FCA32D3-CB26-401E-8BF9-3EAA9CBC150C}">
      <dsp:nvSpPr>
        <dsp:cNvPr id="0" name=""/>
        <dsp:cNvSpPr/>
      </dsp:nvSpPr>
      <dsp:spPr>
        <a:xfrm rot="5400000">
          <a:off x="-82181" y="3389481"/>
          <a:ext cx="547877" cy="3835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Outcome</a:t>
          </a:r>
          <a:endParaRPr lang="en-US" sz="1100" kern="1200" dirty="0"/>
        </a:p>
      </dsp:txBody>
      <dsp:txXfrm rot="-5400000">
        <a:off x="2" y="3499056"/>
        <a:ext cx="383513" cy="164364"/>
      </dsp:txXfrm>
    </dsp:sp>
    <dsp:sp modelId="{7A09CA7D-99D5-4D6C-9AFB-8E9C2FE8C04F}">
      <dsp:nvSpPr>
        <dsp:cNvPr id="0" name=""/>
        <dsp:cNvSpPr/>
      </dsp:nvSpPr>
      <dsp:spPr>
        <a:xfrm rot="5400000">
          <a:off x="3988934" y="-298121"/>
          <a:ext cx="356120" cy="75669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Beneficiary available for</a:t>
          </a:r>
          <a:r>
            <a:rPr lang="en-US" sz="1400" kern="1200" baseline="0" dirty="0" smtClean="0"/>
            <a:t> PFMS DBT </a:t>
          </a:r>
          <a:r>
            <a:rPr lang="en-US" sz="1400" b="1" kern="1200" baseline="0" dirty="0" smtClean="0"/>
            <a:t>OR</a:t>
          </a:r>
          <a:r>
            <a:rPr lang="en-US" sz="1400" kern="1200" baseline="0" dirty="0" smtClean="0"/>
            <a:t> PFMS HM Event Recording</a:t>
          </a:r>
          <a:endParaRPr lang="en-US" sz="1400" kern="1200" dirty="0"/>
        </a:p>
      </dsp:txBody>
      <dsp:txXfrm rot="-5400000">
        <a:off x="383513" y="3324684"/>
        <a:ext cx="7549578" cy="32135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203CD1-F251-4F1D-AE8E-018B7792E98A}">
      <dsp:nvSpPr>
        <dsp:cNvPr id="0" name=""/>
        <dsp:cNvSpPr/>
      </dsp:nvSpPr>
      <dsp:spPr>
        <a:xfrm>
          <a:off x="2368" y="190310"/>
          <a:ext cx="2309197" cy="460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 smtClean="0"/>
            <a:t>Fund Status</a:t>
          </a:r>
          <a:endParaRPr lang="en-IN" sz="1600" b="1" kern="1200" dirty="0"/>
        </a:p>
      </dsp:txBody>
      <dsp:txXfrm>
        <a:off x="2368" y="190310"/>
        <a:ext cx="2309197" cy="460800"/>
      </dsp:txXfrm>
    </dsp:sp>
    <dsp:sp modelId="{3F579FAA-CD96-46CC-ADE5-98FC8DD24FD7}">
      <dsp:nvSpPr>
        <dsp:cNvPr id="0" name=""/>
        <dsp:cNvSpPr/>
      </dsp:nvSpPr>
      <dsp:spPr>
        <a:xfrm>
          <a:off x="2368" y="651110"/>
          <a:ext cx="2309197" cy="27669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kern="1200" dirty="0" smtClean="0"/>
            <a:t>PMU can view information regarding the allocation &amp; utilization of funds for beneficiary payments</a:t>
          </a:r>
          <a:endParaRPr lang="en-IN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IN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kern="1200" dirty="0" smtClean="0"/>
            <a:t>Availability of relevant information within PFMS database is a critical requirement for this widget</a:t>
          </a:r>
          <a:endParaRPr lang="en-IN" sz="1600" kern="1200" dirty="0"/>
        </a:p>
      </dsp:txBody>
      <dsp:txXfrm>
        <a:off x="2368" y="651110"/>
        <a:ext cx="2309197" cy="2766960"/>
      </dsp:txXfrm>
    </dsp:sp>
    <dsp:sp modelId="{E0FF8F23-AC09-4D17-80C3-BE1AF65B4416}">
      <dsp:nvSpPr>
        <dsp:cNvPr id="0" name=""/>
        <dsp:cNvSpPr/>
      </dsp:nvSpPr>
      <dsp:spPr>
        <a:xfrm>
          <a:off x="2634853" y="190310"/>
          <a:ext cx="2309197" cy="460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 smtClean="0"/>
            <a:t>Transaction Processing</a:t>
          </a:r>
          <a:endParaRPr lang="en-IN" sz="1600" b="1" kern="1200" dirty="0"/>
        </a:p>
      </dsp:txBody>
      <dsp:txXfrm>
        <a:off x="2634853" y="190310"/>
        <a:ext cx="2309197" cy="460800"/>
      </dsp:txXfrm>
    </dsp:sp>
    <dsp:sp modelId="{A210537C-00A1-41C5-88B2-F712AA5E5C5E}">
      <dsp:nvSpPr>
        <dsp:cNvPr id="0" name=""/>
        <dsp:cNvSpPr/>
      </dsp:nvSpPr>
      <dsp:spPr>
        <a:xfrm>
          <a:off x="2634853" y="651110"/>
          <a:ext cx="2309197" cy="27669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kern="1200" dirty="0" smtClean="0"/>
            <a:t>PMU can view information regarding the processing of events for  selected beneficiary types for the selected FY</a:t>
          </a:r>
          <a:endParaRPr lang="en-IN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IN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kern="1200" dirty="0" smtClean="0"/>
            <a:t>Details can be viewed programme &amp; beneficiary wise</a:t>
          </a:r>
          <a:endParaRPr lang="en-IN" sz="1600" kern="1200" dirty="0"/>
        </a:p>
      </dsp:txBody>
      <dsp:txXfrm>
        <a:off x="2634853" y="651110"/>
        <a:ext cx="2309197" cy="2766960"/>
      </dsp:txXfrm>
    </dsp:sp>
    <dsp:sp modelId="{48D1C145-1FCC-44D6-AE75-43FDA3898BD6}">
      <dsp:nvSpPr>
        <dsp:cNvPr id="0" name=""/>
        <dsp:cNvSpPr/>
      </dsp:nvSpPr>
      <dsp:spPr>
        <a:xfrm>
          <a:off x="5267338" y="190310"/>
          <a:ext cx="2309197" cy="460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600" b="1" kern="1200" dirty="0" smtClean="0"/>
            <a:t>Bank Payment Ageing</a:t>
          </a:r>
          <a:endParaRPr lang="en-IN" sz="1600" b="1" kern="1200" dirty="0"/>
        </a:p>
      </dsp:txBody>
      <dsp:txXfrm>
        <a:off x="5267338" y="190310"/>
        <a:ext cx="2309197" cy="460800"/>
      </dsp:txXfrm>
    </dsp:sp>
    <dsp:sp modelId="{D40CBC82-18E1-4FE1-AE1D-84CD6E67B7BE}">
      <dsp:nvSpPr>
        <dsp:cNvPr id="0" name=""/>
        <dsp:cNvSpPr/>
      </dsp:nvSpPr>
      <dsp:spPr>
        <a:xfrm>
          <a:off x="5267338" y="651110"/>
          <a:ext cx="2309197" cy="27669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kern="1200" dirty="0" smtClean="0"/>
            <a:t>PMU can view information on ageing of an event to understand time taken between event processing and receiving payments </a:t>
          </a:r>
          <a:endParaRPr lang="en-IN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IN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600" kern="1200" dirty="0" smtClean="0"/>
            <a:t>Performance can be monitored </a:t>
          </a:r>
          <a:endParaRPr lang="en-IN" sz="1600" kern="1200" dirty="0"/>
        </a:p>
      </dsp:txBody>
      <dsp:txXfrm>
        <a:off x="5267338" y="651110"/>
        <a:ext cx="2309197" cy="276696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203CD1-F251-4F1D-AE8E-018B7792E98A}">
      <dsp:nvSpPr>
        <dsp:cNvPr id="0" name=""/>
        <dsp:cNvSpPr/>
      </dsp:nvSpPr>
      <dsp:spPr>
        <a:xfrm>
          <a:off x="2368" y="77240"/>
          <a:ext cx="2309197" cy="489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700" b="1" kern="1200" dirty="0" smtClean="0"/>
            <a:t>PFMS System Access</a:t>
          </a:r>
          <a:endParaRPr lang="en-IN" sz="1700" b="1" kern="1200" dirty="0"/>
        </a:p>
      </dsp:txBody>
      <dsp:txXfrm>
        <a:off x="2368" y="77240"/>
        <a:ext cx="2309197" cy="489600"/>
      </dsp:txXfrm>
    </dsp:sp>
    <dsp:sp modelId="{3F579FAA-CD96-46CC-ADE5-98FC8DD24FD7}">
      <dsp:nvSpPr>
        <dsp:cNvPr id="0" name=""/>
        <dsp:cNvSpPr/>
      </dsp:nvSpPr>
      <dsp:spPr>
        <a:xfrm>
          <a:off x="2368" y="566840"/>
          <a:ext cx="2309197" cy="296429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700" kern="1200" dirty="0" smtClean="0"/>
            <a:t>PMU can monitor user access for PFMS Health Module</a:t>
          </a:r>
          <a:endParaRPr lang="en-IN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700" kern="1200" dirty="0" smtClean="0"/>
            <a:t>Assess end user performance </a:t>
          </a:r>
          <a:endParaRPr lang="en-IN" sz="1700" kern="1200" dirty="0"/>
        </a:p>
      </dsp:txBody>
      <dsp:txXfrm>
        <a:off x="2368" y="566840"/>
        <a:ext cx="2309197" cy="2964298"/>
      </dsp:txXfrm>
    </dsp:sp>
    <dsp:sp modelId="{E0FF8F23-AC09-4D17-80C3-BE1AF65B4416}">
      <dsp:nvSpPr>
        <dsp:cNvPr id="0" name=""/>
        <dsp:cNvSpPr/>
      </dsp:nvSpPr>
      <dsp:spPr>
        <a:xfrm>
          <a:off x="2634853" y="77240"/>
          <a:ext cx="2309197" cy="489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700" b="1" kern="1200" dirty="0" smtClean="0"/>
            <a:t>Payment Ageing</a:t>
          </a:r>
          <a:endParaRPr lang="en-IN" sz="1700" b="1" kern="1200" dirty="0"/>
        </a:p>
      </dsp:txBody>
      <dsp:txXfrm>
        <a:off x="2634853" y="77240"/>
        <a:ext cx="2309197" cy="489600"/>
      </dsp:txXfrm>
    </dsp:sp>
    <dsp:sp modelId="{A210537C-00A1-41C5-88B2-F712AA5E5C5E}">
      <dsp:nvSpPr>
        <dsp:cNvPr id="0" name=""/>
        <dsp:cNvSpPr/>
      </dsp:nvSpPr>
      <dsp:spPr>
        <a:xfrm>
          <a:off x="2634853" y="566840"/>
          <a:ext cx="2309197" cy="296429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700" kern="1200" dirty="0" smtClean="0"/>
            <a:t>PMU can view information regarding the number of records approved &amp; paid to the beneficiaries </a:t>
          </a:r>
          <a:endParaRPr lang="en-IN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IN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700" kern="1200" dirty="0" smtClean="0"/>
            <a:t>The record level detail will be available for analysis</a:t>
          </a:r>
          <a:endParaRPr lang="en-IN" sz="1700" kern="1200" dirty="0"/>
        </a:p>
      </dsp:txBody>
      <dsp:txXfrm>
        <a:off x="2634853" y="566840"/>
        <a:ext cx="2309197" cy="2964298"/>
      </dsp:txXfrm>
    </dsp:sp>
    <dsp:sp modelId="{48D1C145-1FCC-44D6-AE75-43FDA3898BD6}">
      <dsp:nvSpPr>
        <dsp:cNvPr id="0" name=""/>
        <dsp:cNvSpPr/>
      </dsp:nvSpPr>
      <dsp:spPr>
        <a:xfrm>
          <a:off x="5267338" y="77240"/>
          <a:ext cx="2309197" cy="489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700" b="1" kern="1200" dirty="0" smtClean="0"/>
            <a:t>State Ranking</a:t>
          </a:r>
          <a:endParaRPr lang="en-IN" sz="1700" b="1" kern="1200" dirty="0"/>
        </a:p>
      </dsp:txBody>
      <dsp:txXfrm>
        <a:off x="5267338" y="77240"/>
        <a:ext cx="2309197" cy="489600"/>
      </dsp:txXfrm>
    </dsp:sp>
    <dsp:sp modelId="{D40CBC82-18E1-4FE1-AE1D-84CD6E67B7BE}">
      <dsp:nvSpPr>
        <dsp:cNvPr id="0" name=""/>
        <dsp:cNvSpPr/>
      </dsp:nvSpPr>
      <dsp:spPr>
        <a:xfrm>
          <a:off x="5267338" y="566840"/>
          <a:ext cx="2309197" cy="296429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678" tIns="90678" rIns="120904" bIns="136017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700" kern="1200" dirty="0" smtClean="0"/>
            <a:t>PMU can view ranking of states based on their fund utilization, system usage and event approval timings</a:t>
          </a:r>
          <a:endParaRPr lang="en-IN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IN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700" kern="1200" dirty="0" smtClean="0"/>
            <a:t>It will help assess performance at a national level and aid in decision making</a:t>
          </a:r>
          <a:endParaRPr lang="en-IN" sz="1700" kern="1200" dirty="0"/>
        </a:p>
      </dsp:txBody>
      <dsp:txXfrm>
        <a:off x="5267338" y="566840"/>
        <a:ext cx="2309197" cy="296429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C010E7-2E0F-45AE-826B-6B4C90FC7ECB}">
      <dsp:nvSpPr>
        <dsp:cNvPr id="0" name=""/>
        <dsp:cNvSpPr/>
      </dsp:nvSpPr>
      <dsp:spPr>
        <a:xfrm>
          <a:off x="0" y="115884"/>
          <a:ext cx="3517871" cy="3517871"/>
        </a:xfrm>
        <a:prstGeom prst="pie">
          <a:avLst>
            <a:gd name="adj1" fmla="val 5400000"/>
            <a:gd name="adj2" fmla="val 1620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0837BD-74C5-4D58-BD40-E7639C73805D}">
      <dsp:nvSpPr>
        <dsp:cNvPr id="0" name=""/>
        <dsp:cNvSpPr/>
      </dsp:nvSpPr>
      <dsp:spPr>
        <a:xfrm>
          <a:off x="1758935" y="115884"/>
          <a:ext cx="4104183" cy="351787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400" kern="1200" dirty="0" smtClean="0"/>
            <a:t>Event Recording</a:t>
          </a:r>
          <a:endParaRPr lang="en-IN" sz="3400" kern="1200" dirty="0"/>
        </a:p>
      </dsp:txBody>
      <dsp:txXfrm>
        <a:off x="1758935" y="115884"/>
        <a:ext cx="2052091" cy="1670988"/>
      </dsp:txXfrm>
    </dsp:sp>
    <dsp:sp modelId="{1F0CD0E8-7554-4A60-A5A7-1B9D8BA7E51C}">
      <dsp:nvSpPr>
        <dsp:cNvPr id="0" name=""/>
        <dsp:cNvSpPr/>
      </dsp:nvSpPr>
      <dsp:spPr>
        <a:xfrm>
          <a:off x="923441" y="1786873"/>
          <a:ext cx="1670988" cy="1670988"/>
        </a:xfrm>
        <a:prstGeom prst="pie">
          <a:avLst>
            <a:gd name="adj1" fmla="val 5400000"/>
            <a:gd name="adj2" fmla="val 16200000"/>
          </a:avLst>
        </a:prstGeom>
        <a:solidFill>
          <a:schemeClr val="accent4">
            <a:hueOff val="-19227808"/>
            <a:satOff val="-49935"/>
            <a:lumOff val="2451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7D6C5E-4543-427B-8E79-8ED7728BC197}">
      <dsp:nvSpPr>
        <dsp:cNvPr id="0" name=""/>
        <dsp:cNvSpPr/>
      </dsp:nvSpPr>
      <dsp:spPr>
        <a:xfrm>
          <a:off x="1758935" y="1786873"/>
          <a:ext cx="4104183" cy="167098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9227808"/>
              <a:satOff val="-49935"/>
              <a:lumOff val="2451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400" kern="1200" dirty="0" smtClean="0"/>
            <a:t>Event Approval</a:t>
          </a:r>
          <a:endParaRPr lang="en-IN" sz="3400" kern="1200" dirty="0"/>
        </a:p>
      </dsp:txBody>
      <dsp:txXfrm>
        <a:off x="1758935" y="1786873"/>
        <a:ext cx="2052091" cy="1670988"/>
      </dsp:txXfrm>
    </dsp:sp>
    <dsp:sp modelId="{545804E9-F50D-4009-8845-3F938682C1D9}">
      <dsp:nvSpPr>
        <dsp:cNvPr id="0" name=""/>
        <dsp:cNvSpPr/>
      </dsp:nvSpPr>
      <dsp:spPr>
        <a:xfrm>
          <a:off x="3811027" y="115884"/>
          <a:ext cx="2052091" cy="167098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Mother Registration through MCTS</a:t>
          </a:r>
          <a:endParaRPr lang="en-IN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Event Recording for Specific Activities</a:t>
          </a:r>
          <a:endParaRPr lang="en-IN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ASHA Empowerment</a:t>
          </a:r>
          <a:endParaRPr lang="en-IN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Seamless Data Entry Process</a:t>
          </a:r>
          <a:endParaRPr lang="en-IN" sz="1400" kern="1200" dirty="0"/>
        </a:p>
      </dsp:txBody>
      <dsp:txXfrm>
        <a:off x="3811027" y="115884"/>
        <a:ext cx="2052091" cy="1670988"/>
      </dsp:txXfrm>
    </dsp:sp>
    <dsp:sp modelId="{0702702E-4070-4B76-A9C6-372DDD1BCF41}">
      <dsp:nvSpPr>
        <dsp:cNvPr id="0" name=""/>
        <dsp:cNvSpPr/>
      </dsp:nvSpPr>
      <dsp:spPr>
        <a:xfrm>
          <a:off x="3811027" y="1786873"/>
          <a:ext cx="2052091" cy="167098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Click through Navigation for MOIC</a:t>
          </a:r>
          <a:endParaRPr lang="en-IN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Faster than web</a:t>
          </a:r>
          <a:endParaRPr lang="en-IN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Unprecedented Mobility</a:t>
          </a:r>
          <a:endParaRPr lang="en-IN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400" kern="1200" dirty="0" smtClean="0"/>
            <a:t>Bulk Approval</a:t>
          </a:r>
          <a:endParaRPr lang="en-IN" sz="1400" kern="1200" dirty="0"/>
        </a:p>
      </dsp:txBody>
      <dsp:txXfrm>
        <a:off x="3811027" y="1786873"/>
        <a:ext cx="2052091" cy="16709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61958" y="8573296"/>
            <a:ext cx="2543863" cy="46180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Bill &amp; Melinda Gates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Foundation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9" y="8573296"/>
            <a:ext cx="2594953" cy="46180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D56DA0AC-102B-4398-8E7E-B2C936C1DD76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Header Placeholder 16"/>
          <p:cNvSpPr>
            <a:spLocks noGrp="1"/>
          </p:cNvSpPr>
          <p:nvPr>
            <p:ph type="hdr" sz="quarter"/>
          </p:nvPr>
        </p:nvSpPr>
        <p:spPr>
          <a:xfrm>
            <a:off x="479594" y="344748"/>
            <a:ext cx="2532002" cy="4614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Date Placeholder 17"/>
          <p:cNvSpPr>
            <a:spLocks noGrp="1"/>
          </p:cNvSpPr>
          <p:nvPr>
            <p:ph type="dt" sz="quarter" idx="1"/>
          </p:nvPr>
        </p:nvSpPr>
        <p:spPr>
          <a:xfrm>
            <a:off x="3964057" y="344748"/>
            <a:ext cx="2532002" cy="4614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8/30/2016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95799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5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4859" y="4387139"/>
            <a:ext cx="6180844" cy="415623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59876" y="8575387"/>
            <a:ext cx="2651824" cy="46180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© Bill &amp; Melinda Gates Found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9" y="8575387"/>
            <a:ext cx="2747900" cy="461804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fld id="{9BFEC94F-12C8-4E9F-9CD8-BA76233A02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Header Placeholder 16"/>
          <p:cNvSpPr>
            <a:spLocks noGrp="1"/>
          </p:cNvSpPr>
          <p:nvPr>
            <p:ph type="hdr" sz="quarter"/>
          </p:nvPr>
        </p:nvSpPr>
        <p:spPr>
          <a:xfrm>
            <a:off x="479594" y="181447"/>
            <a:ext cx="2532002" cy="4614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ate Placeholder 17"/>
          <p:cNvSpPr>
            <a:spLocks noGrp="1"/>
          </p:cNvSpPr>
          <p:nvPr>
            <p:ph type="dt" sz="quarter" idx="1"/>
          </p:nvPr>
        </p:nvSpPr>
        <p:spPr>
          <a:xfrm>
            <a:off x="3964057" y="181447"/>
            <a:ext cx="2532002" cy="4614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8/30/2016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5950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indent="0" algn="l" defTabSz="914252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125" algn="l" defTabSz="914252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252" algn="l" defTabSz="914252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376" algn="l" defTabSz="914252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503" algn="l" defTabSz="914252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5628" algn="l" defTabSz="914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54" algn="l" defTabSz="914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80" algn="l" defTabSz="914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06" algn="l" defTabSz="9142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6036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217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62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173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949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185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Bill &amp; Melinda Gates Foundation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485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6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59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162.xml"/><Relationship Id="rId10" Type="http://schemas.openxmlformats.org/officeDocument/2006/relationships/image" Target="../media/image8.jpeg"/><Relationship Id="rId4" Type="http://schemas.openxmlformats.org/officeDocument/2006/relationships/tags" Target="../tags/tag161.xml"/><Relationship Id="rId9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69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7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8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86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189.xml"/><Relationship Id="rId10" Type="http://schemas.openxmlformats.org/officeDocument/2006/relationships/image" Target="../media/image8.jpeg"/><Relationship Id="rId4" Type="http://schemas.openxmlformats.org/officeDocument/2006/relationships/tags" Target="../tags/tag188.xml"/><Relationship Id="rId9" Type="http://schemas.openxmlformats.org/officeDocument/2006/relationships/image" Target="../media/image7.png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14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13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216.xml"/><Relationship Id="rId10" Type="http://schemas.openxmlformats.org/officeDocument/2006/relationships/image" Target="../media/image8.jpeg"/><Relationship Id="rId4" Type="http://schemas.openxmlformats.org/officeDocument/2006/relationships/tags" Target="../tags/tag215.xml"/><Relationship Id="rId9" Type="http://schemas.openxmlformats.org/officeDocument/2006/relationships/image" Target="../media/image7.png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9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41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40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243.xml"/><Relationship Id="rId10" Type="http://schemas.openxmlformats.org/officeDocument/2006/relationships/image" Target="../media/image8.jpeg"/><Relationship Id="rId4" Type="http://schemas.openxmlformats.org/officeDocument/2006/relationships/tags" Target="../tags/tag242.xml"/><Relationship Id="rId9" Type="http://schemas.openxmlformats.org/officeDocument/2006/relationships/image" Target="../media/image7.png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50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5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5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5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7.xml"/><Relationship Id="rId10" Type="http://schemas.openxmlformats.org/officeDocument/2006/relationships/image" Target="../media/image8.jpeg"/><Relationship Id="rId4" Type="http://schemas.openxmlformats.org/officeDocument/2006/relationships/tags" Target="../tags/tag16.xml"/><Relationship Id="rId9" Type="http://schemas.openxmlformats.org/officeDocument/2006/relationships/image" Target="../media/image7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3.xml"/><Relationship Id="rId7" Type="http://schemas.openxmlformats.org/officeDocument/2006/relationships/oleObject" Target="../embeddings/oleObject4.bin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5.xml"/><Relationship Id="rId10" Type="http://schemas.openxmlformats.org/officeDocument/2006/relationships/image" Target="../media/image8.jpeg"/><Relationship Id="rId4" Type="http://schemas.openxmlformats.org/officeDocument/2006/relationships/tags" Target="../tags/tag34.xml"/><Relationship Id="rId9" Type="http://schemas.openxmlformats.org/officeDocument/2006/relationships/image" Target="../media/image7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5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image" Target="../media/image5.emf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oleObject" Target="../embeddings/oleObject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2" Type="http://schemas.openxmlformats.org/officeDocument/2006/relationships/tags" Target="../tags/tag47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6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image" Target="../media/image5.emf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oleObject" Target="../embeddings/oleObject6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7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image" Target="../media/image5.emf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oleObject" Target="../embeddings/oleObject7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2" Type="http://schemas.openxmlformats.org/officeDocument/2006/relationships/tags" Target="../tags/tag69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8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image" Target="../media/image5.emf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oleObject" Target="../embeddings/oleObject8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2" Type="http://schemas.openxmlformats.org/officeDocument/2006/relationships/tags" Target="../tags/tag80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9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image" Target="../media/image5.emf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oleObject" Target="../embeddings/oleObject9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2" Type="http://schemas.openxmlformats.org/officeDocument/2006/relationships/tags" Target="../tags/tag91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0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5" Type="http://schemas.openxmlformats.org/officeDocument/2006/relationships/image" Target="../media/image5.emf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oleObject" Target="../embeddings/oleObject10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2" Type="http://schemas.openxmlformats.org/officeDocument/2006/relationships/tags" Target="../tags/tag102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1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image" Target="../media/image5.emf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oleObject" Target="../embeddings/oleObject1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2" Type="http://schemas.openxmlformats.org/officeDocument/2006/relationships/tags" Target="../tags/tag113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5" Type="http://schemas.openxmlformats.org/officeDocument/2006/relationships/image" Target="../media/image5.emf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oleObject" Target="../embeddings/oleObject12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2" Type="http://schemas.openxmlformats.org/officeDocument/2006/relationships/tags" Target="../tags/tag124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3.v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5" Type="http://schemas.openxmlformats.org/officeDocument/2006/relationships/image" Target="../media/image5.emf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oleObject" Target="../embeddings/oleObject1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4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image" Target="../media/image5.emf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oleObject" Target="../embeddings/oleObject14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817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71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4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60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42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2" y="871727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2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847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1289066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6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71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488955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9943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766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8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8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24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2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30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8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9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8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24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2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30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8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9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8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24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2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30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80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96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84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40" y="74428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50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84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24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25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59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98248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9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91"/>
            <a:ext cx="9144000" cy="3424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862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b="0" smtClean="0">
              <a:solidFill>
                <a:srgbClr val="59452A"/>
              </a:solidFill>
            </a:endParaRPr>
          </a:p>
        </p:txBody>
      </p:sp>
      <p:pic>
        <p:nvPicPr>
          <p:cNvPr id="7" name="Picture 22" descr="BMGF_BoxLogo_red_WEBSAFE2.4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9447" y="3072296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050" y="926457"/>
            <a:ext cx="8146177" cy="492443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07019" y="3688159"/>
            <a:ext cx="5036084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68518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39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EC1D3D-4527-4246-9A18-5C47E0E04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68511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488" y="3305501"/>
            <a:ext cx="7771995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488" y="2180609"/>
            <a:ext cx="7771995" cy="1124913"/>
          </a:xfrm>
        </p:spPr>
        <p:txBody>
          <a:bodyPr anchor="b"/>
          <a:lstStyle>
            <a:lvl1pPr marL="0" indent="0">
              <a:buNone/>
              <a:defRPr sz="2000"/>
            </a:lvl1pPr>
            <a:lvl2pPr marL="411518" indent="0">
              <a:buNone/>
              <a:defRPr sz="1800"/>
            </a:lvl2pPr>
            <a:lvl3pPr marL="823155" indent="0">
              <a:buNone/>
              <a:defRPr sz="1600"/>
            </a:lvl3pPr>
            <a:lvl4pPr marL="1234764" indent="0">
              <a:buNone/>
              <a:defRPr sz="1400"/>
            </a:lvl4pPr>
            <a:lvl5pPr marL="1646350" indent="0">
              <a:buNone/>
              <a:defRPr sz="1400"/>
            </a:lvl5pPr>
            <a:lvl6pPr marL="2057920" indent="0">
              <a:buNone/>
              <a:defRPr sz="1400"/>
            </a:lvl6pPr>
            <a:lvl7pPr marL="2469510" indent="0">
              <a:buNone/>
              <a:defRPr sz="1400"/>
            </a:lvl7pPr>
            <a:lvl8pPr marL="2881085" indent="0">
              <a:buNone/>
              <a:defRPr sz="1400"/>
            </a:lvl8pPr>
            <a:lvl9pPr marL="329267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C82FD-5F86-447B-90E5-4280AA50F17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674331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493039"/>
            <a:ext cx="2117131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4" y="1493039"/>
            <a:ext cx="2117132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4CBF8-235A-4FEE-8EB9-4E3FDC5A670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483617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06533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151657"/>
            <a:ext cx="403988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11518" indent="0">
              <a:buNone/>
              <a:defRPr sz="2000" b="1"/>
            </a:lvl2pPr>
            <a:lvl3pPr marL="823155" indent="0">
              <a:buNone/>
              <a:defRPr sz="1800" b="1"/>
            </a:lvl3pPr>
            <a:lvl4pPr marL="1234764" indent="0">
              <a:buNone/>
              <a:defRPr sz="1600" b="1"/>
            </a:lvl4pPr>
            <a:lvl5pPr marL="1646350" indent="0">
              <a:buNone/>
              <a:defRPr sz="1600" b="1"/>
            </a:lvl5pPr>
            <a:lvl6pPr marL="2057920" indent="0">
              <a:buNone/>
              <a:defRPr sz="1600" b="1"/>
            </a:lvl6pPr>
            <a:lvl7pPr marL="2469510" indent="0">
              <a:buNone/>
              <a:defRPr sz="1600" b="1"/>
            </a:lvl7pPr>
            <a:lvl8pPr marL="2881085" indent="0">
              <a:buNone/>
              <a:defRPr sz="1600" b="1"/>
            </a:lvl8pPr>
            <a:lvl9pPr marL="329267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1631489"/>
            <a:ext cx="403988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151657"/>
            <a:ext cx="404150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11518" indent="0">
              <a:buNone/>
              <a:defRPr sz="2000" b="1"/>
            </a:lvl2pPr>
            <a:lvl3pPr marL="823155" indent="0">
              <a:buNone/>
              <a:defRPr sz="1800" b="1"/>
            </a:lvl3pPr>
            <a:lvl4pPr marL="1234764" indent="0">
              <a:buNone/>
              <a:defRPr sz="1600" b="1"/>
            </a:lvl4pPr>
            <a:lvl5pPr marL="1646350" indent="0">
              <a:buNone/>
              <a:defRPr sz="1600" b="1"/>
            </a:lvl5pPr>
            <a:lvl6pPr marL="2057920" indent="0">
              <a:buNone/>
              <a:defRPr sz="1600" b="1"/>
            </a:lvl6pPr>
            <a:lvl7pPr marL="2469510" indent="0">
              <a:buNone/>
              <a:defRPr sz="1600" b="1"/>
            </a:lvl7pPr>
            <a:lvl8pPr marL="2881085" indent="0">
              <a:buNone/>
              <a:defRPr sz="1600" b="1"/>
            </a:lvl8pPr>
            <a:lvl9pPr marL="329267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1631489"/>
            <a:ext cx="404150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A5099-F55D-4CCF-AACA-12ED5A82E7B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0926557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A5B70-7D81-4BD2-870C-2AE865D64C3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59819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723078-1AB8-4C9F-B771-2C25EA563A9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906695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460819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05335"/>
            <a:ext cx="5112217" cy="438910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076322"/>
            <a:ext cx="3008044" cy="3518086"/>
          </a:xfrm>
        </p:spPr>
        <p:txBody>
          <a:bodyPr/>
          <a:lstStyle>
            <a:lvl1pPr marL="0" indent="0">
              <a:buNone/>
              <a:defRPr sz="1400"/>
            </a:lvl1pPr>
            <a:lvl2pPr marL="411518" indent="0">
              <a:buNone/>
              <a:defRPr sz="1200"/>
            </a:lvl2pPr>
            <a:lvl3pPr marL="823155" indent="0">
              <a:buNone/>
              <a:defRPr sz="1000"/>
            </a:lvl3pPr>
            <a:lvl4pPr marL="1234764" indent="0">
              <a:buNone/>
              <a:defRPr sz="900"/>
            </a:lvl4pPr>
            <a:lvl5pPr marL="1646350" indent="0">
              <a:buNone/>
              <a:defRPr sz="900"/>
            </a:lvl5pPr>
            <a:lvl6pPr marL="2057920" indent="0">
              <a:buNone/>
              <a:defRPr sz="900"/>
            </a:lvl6pPr>
            <a:lvl7pPr marL="2469510" indent="0">
              <a:buNone/>
              <a:defRPr sz="900"/>
            </a:lvl7pPr>
            <a:lvl8pPr marL="2881085" indent="0">
              <a:buNone/>
              <a:defRPr sz="900"/>
            </a:lvl8pPr>
            <a:lvl9pPr marL="329267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04827-BFB1-4347-90D1-1CA4DABD3A2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8823342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5" y="3718115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5" y="459200"/>
            <a:ext cx="5486400" cy="3086829"/>
          </a:xfrm>
        </p:spPr>
        <p:txBody>
          <a:bodyPr/>
          <a:lstStyle>
            <a:lvl1pPr marL="0" indent="0">
              <a:buNone/>
              <a:defRPr sz="3200"/>
            </a:lvl1pPr>
            <a:lvl2pPr marL="411518" indent="0">
              <a:buNone/>
              <a:defRPr sz="2800"/>
            </a:lvl2pPr>
            <a:lvl3pPr marL="823155" indent="0">
              <a:buNone/>
              <a:defRPr sz="2400"/>
            </a:lvl3pPr>
            <a:lvl4pPr marL="1234764" indent="0">
              <a:buNone/>
              <a:defRPr sz="2000"/>
            </a:lvl4pPr>
            <a:lvl5pPr marL="1646350" indent="0">
              <a:buNone/>
              <a:defRPr sz="2000"/>
            </a:lvl5pPr>
            <a:lvl6pPr marL="2057920" indent="0">
              <a:buNone/>
              <a:defRPr sz="2000"/>
            </a:lvl6pPr>
            <a:lvl7pPr marL="2469510" indent="0">
              <a:buNone/>
              <a:defRPr sz="2000"/>
            </a:lvl7pPr>
            <a:lvl8pPr marL="2881085" indent="0">
              <a:buNone/>
              <a:defRPr sz="2000"/>
            </a:lvl8pPr>
            <a:lvl9pPr marL="3292676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5" y="4025877"/>
            <a:ext cx="5486400" cy="603760"/>
          </a:xfrm>
        </p:spPr>
        <p:txBody>
          <a:bodyPr/>
          <a:lstStyle>
            <a:lvl1pPr marL="0" indent="0">
              <a:buNone/>
              <a:defRPr sz="1400"/>
            </a:lvl1pPr>
            <a:lvl2pPr marL="411518" indent="0">
              <a:buNone/>
              <a:defRPr sz="1200"/>
            </a:lvl2pPr>
            <a:lvl3pPr marL="823155" indent="0">
              <a:buNone/>
              <a:defRPr sz="1000"/>
            </a:lvl3pPr>
            <a:lvl4pPr marL="1234764" indent="0">
              <a:buNone/>
              <a:defRPr sz="900"/>
            </a:lvl4pPr>
            <a:lvl5pPr marL="1646350" indent="0">
              <a:buNone/>
              <a:defRPr sz="900"/>
            </a:lvl5pPr>
            <a:lvl6pPr marL="2057920" indent="0">
              <a:buNone/>
              <a:defRPr sz="900"/>
            </a:lvl6pPr>
            <a:lvl7pPr marL="2469510" indent="0">
              <a:buNone/>
              <a:defRPr sz="900"/>
            </a:lvl7pPr>
            <a:lvl8pPr marL="2881085" indent="0">
              <a:buNone/>
              <a:defRPr sz="900"/>
            </a:lvl8pPr>
            <a:lvl9pPr marL="329267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62D07-EB30-4975-9EC3-C1637F64EAC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18293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1B5FB1-F8DD-47F6-92D0-98AEF215DB1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42045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1917" y="176938"/>
            <a:ext cx="584775" cy="225225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176938"/>
            <a:ext cx="6440486" cy="22522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B209EF-483B-458E-BC61-977FC10F46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29554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8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24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2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30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8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9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8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24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2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30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8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9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8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24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2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30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80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96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84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40" y="74428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85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7" y="128909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66320" indent="-16632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32642" indent="-16632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00511" indent="-167863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66818" indent="-16632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lIns="88701" tIns="44361" rIns="88701" bIns="44361"/>
          <a:lstStyle/>
          <a:p>
            <a:pPr algn="r" defTabSz="886237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7" y="472181"/>
            <a:ext cx="8329613" cy="292388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482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4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9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32"/>
            <a:ext cx="9144000" cy="3424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b="0" smtClean="0">
              <a:solidFill>
                <a:srgbClr val="59452A"/>
              </a:solidFill>
            </a:endParaRPr>
          </a:p>
        </p:txBody>
      </p:sp>
      <p:pic>
        <p:nvPicPr>
          <p:cNvPr id="7" name="Picture 22" descr="BMGF_BoxLogo_red_WEBSAFE2.4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9447" y="3072299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104" y="926496"/>
            <a:ext cx="8146177" cy="492443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07019" y="3688159"/>
            <a:ext cx="5036084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7542586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EC1D3D-4527-4246-9A18-5C47E0E04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528244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542" y="3305501"/>
            <a:ext cx="7771995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542" y="2180627"/>
            <a:ext cx="7771995" cy="1124913"/>
          </a:xfrm>
        </p:spPr>
        <p:txBody>
          <a:bodyPr anchor="b"/>
          <a:lstStyle>
            <a:lvl1pPr marL="0" indent="0">
              <a:buNone/>
              <a:defRPr sz="2000"/>
            </a:lvl1pPr>
            <a:lvl2pPr marL="409341" indent="0">
              <a:buNone/>
              <a:defRPr sz="1800"/>
            </a:lvl2pPr>
            <a:lvl3pPr marL="818805" indent="0">
              <a:buNone/>
              <a:defRPr sz="1600"/>
            </a:lvl3pPr>
            <a:lvl4pPr marL="1228233" indent="0">
              <a:buNone/>
              <a:defRPr sz="1400"/>
            </a:lvl4pPr>
            <a:lvl5pPr marL="1637648" indent="0">
              <a:buNone/>
              <a:defRPr sz="1400"/>
            </a:lvl5pPr>
            <a:lvl6pPr marL="2047044" indent="0">
              <a:buNone/>
              <a:defRPr sz="1400"/>
            </a:lvl6pPr>
            <a:lvl7pPr marL="2456455" indent="0">
              <a:buNone/>
              <a:defRPr sz="1400"/>
            </a:lvl7pPr>
            <a:lvl8pPr marL="2865857" indent="0">
              <a:buNone/>
              <a:defRPr sz="1400"/>
            </a:lvl8pPr>
            <a:lvl9pPr marL="327527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C82FD-5F86-447B-90E5-4280AA50F17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87743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493042"/>
            <a:ext cx="2117131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4" y="1493042"/>
            <a:ext cx="2117132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4CBF8-235A-4FEE-8EB9-4E3FDC5A670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44270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06533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151657"/>
            <a:ext cx="403988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09341" indent="0">
              <a:buNone/>
              <a:defRPr sz="2000" b="1"/>
            </a:lvl2pPr>
            <a:lvl3pPr marL="818805" indent="0">
              <a:buNone/>
              <a:defRPr sz="1800" b="1"/>
            </a:lvl3pPr>
            <a:lvl4pPr marL="1228233" indent="0">
              <a:buNone/>
              <a:defRPr sz="1600" b="1"/>
            </a:lvl4pPr>
            <a:lvl5pPr marL="1637648" indent="0">
              <a:buNone/>
              <a:defRPr sz="1600" b="1"/>
            </a:lvl5pPr>
            <a:lvl6pPr marL="2047044" indent="0">
              <a:buNone/>
              <a:defRPr sz="1600" b="1"/>
            </a:lvl6pPr>
            <a:lvl7pPr marL="2456455" indent="0">
              <a:buNone/>
              <a:defRPr sz="1600" b="1"/>
            </a:lvl7pPr>
            <a:lvl8pPr marL="2865857" indent="0">
              <a:buNone/>
              <a:defRPr sz="1600" b="1"/>
            </a:lvl8pPr>
            <a:lvl9pPr marL="32752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1631489"/>
            <a:ext cx="403988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151657"/>
            <a:ext cx="404150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09341" indent="0">
              <a:buNone/>
              <a:defRPr sz="2000" b="1"/>
            </a:lvl2pPr>
            <a:lvl3pPr marL="818805" indent="0">
              <a:buNone/>
              <a:defRPr sz="1800" b="1"/>
            </a:lvl3pPr>
            <a:lvl4pPr marL="1228233" indent="0">
              <a:buNone/>
              <a:defRPr sz="1600" b="1"/>
            </a:lvl4pPr>
            <a:lvl5pPr marL="1637648" indent="0">
              <a:buNone/>
              <a:defRPr sz="1600" b="1"/>
            </a:lvl5pPr>
            <a:lvl6pPr marL="2047044" indent="0">
              <a:buNone/>
              <a:defRPr sz="1600" b="1"/>
            </a:lvl6pPr>
            <a:lvl7pPr marL="2456455" indent="0">
              <a:buNone/>
              <a:defRPr sz="1600" b="1"/>
            </a:lvl7pPr>
            <a:lvl8pPr marL="2865857" indent="0">
              <a:buNone/>
              <a:defRPr sz="1600" b="1"/>
            </a:lvl8pPr>
            <a:lvl9pPr marL="32752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1631489"/>
            <a:ext cx="404150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A5099-F55D-4CCF-AACA-12ED5A82E7B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28629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A5B70-7D81-4BD2-870C-2AE865D64C3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26422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723078-1AB8-4C9F-B771-2C25EA563A9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96290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460838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05335"/>
            <a:ext cx="5112217" cy="438910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076322"/>
            <a:ext cx="3008044" cy="3518086"/>
          </a:xfrm>
        </p:spPr>
        <p:txBody>
          <a:bodyPr/>
          <a:lstStyle>
            <a:lvl1pPr marL="0" indent="0">
              <a:buNone/>
              <a:defRPr sz="1400"/>
            </a:lvl1pPr>
            <a:lvl2pPr marL="409341" indent="0">
              <a:buNone/>
              <a:defRPr sz="1200"/>
            </a:lvl2pPr>
            <a:lvl3pPr marL="818805" indent="0">
              <a:buNone/>
              <a:defRPr sz="1000"/>
            </a:lvl3pPr>
            <a:lvl4pPr marL="1228233" indent="0">
              <a:buNone/>
              <a:defRPr sz="900"/>
            </a:lvl4pPr>
            <a:lvl5pPr marL="1637648" indent="0">
              <a:buNone/>
              <a:defRPr sz="900"/>
            </a:lvl5pPr>
            <a:lvl6pPr marL="2047044" indent="0">
              <a:buNone/>
              <a:defRPr sz="900"/>
            </a:lvl6pPr>
            <a:lvl7pPr marL="2456455" indent="0">
              <a:buNone/>
              <a:defRPr sz="900"/>
            </a:lvl7pPr>
            <a:lvl8pPr marL="2865857" indent="0">
              <a:buNone/>
              <a:defRPr sz="900"/>
            </a:lvl8pPr>
            <a:lvl9pPr marL="327527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04827-BFB1-4347-90D1-1CA4DABD3A2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91679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5" y="3718115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5" y="459200"/>
            <a:ext cx="5486400" cy="3086829"/>
          </a:xfrm>
        </p:spPr>
        <p:txBody>
          <a:bodyPr/>
          <a:lstStyle>
            <a:lvl1pPr marL="0" indent="0">
              <a:buNone/>
              <a:defRPr sz="3200"/>
            </a:lvl1pPr>
            <a:lvl2pPr marL="409341" indent="0">
              <a:buNone/>
              <a:defRPr sz="2800"/>
            </a:lvl2pPr>
            <a:lvl3pPr marL="818805" indent="0">
              <a:buNone/>
              <a:defRPr sz="2400"/>
            </a:lvl3pPr>
            <a:lvl4pPr marL="1228233" indent="0">
              <a:buNone/>
              <a:defRPr sz="2000"/>
            </a:lvl4pPr>
            <a:lvl5pPr marL="1637648" indent="0">
              <a:buNone/>
              <a:defRPr sz="2000"/>
            </a:lvl5pPr>
            <a:lvl6pPr marL="2047044" indent="0">
              <a:buNone/>
              <a:defRPr sz="2000"/>
            </a:lvl6pPr>
            <a:lvl7pPr marL="2456455" indent="0">
              <a:buNone/>
              <a:defRPr sz="2000"/>
            </a:lvl7pPr>
            <a:lvl8pPr marL="2865857" indent="0">
              <a:buNone/>
              <a:defRPr sz="2000"/>
            </a:lvl8pPr>
            <a:lvl9pPr marL="3275272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5" y="4025877"/>
            <a:ext cx="5486400" cy="603760"/>
          </a:xfrm>
        </p:spPr>
        <p:txBody>
          <a:bodyPr/>
          <a:lstStyle>
            <a:lvl1pPr marL="0" indent="0">
              <a:buNone/>
              <a:defRPr sz="1400"/>
            </a:lvl1pPr>
            <a:lvl2pPr marL="409341" indent="0">
              <a:buNone/>
              <a:defRPr sz="1200"/>
            </a:lvl2pPr>
            <a:lvl3pPr marL="818805" indent="0">
              <a:buNone/>
              <a:defRPr sz="1000"/>
            </a:lvl3pPr>
            <a:lvl4pPr marL="1228233" indent="0">
              <a:buNone/>
              <a:defRPr sz="900"/>
            </a:lvl4pPr>
            <a:lvl5pPr marL="1637648" indent="0">
              <a:buNone/>
              <a:defRPr sz="900"/>
            </a:lvl5pPr>
            <a:lvl6pPr marL="2047044" indent="0">
              <a:buNone/>
              <a:defRPr sz="900"/>
            </a:lvl6pPr>
            <a:lvl7pPr marL="2456455" indent="0">
              <a:buNone/>
              <a:defRPr sz="900"/>
            </a:lvl7pPr>
            <a:lvl8pPr marL="2865857" indent="0">
              <a:buNone/>
              <a:defRPr sz="900"/>
            </a:lvl8pPr>
            <a:lvl9pPr marL="327527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62D07-EB30-4975-9EC3-C1637F64EAC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29775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62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1B5FB1-F8DD-47F6-92D0-98AEF215DB1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43882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1971" y="176976"/>
            <a:ext cx="584775" cy="225225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176976"/>
            <a:ext cx="6440486" cy="22522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B209EF-483B-458E-BC61-977FC10F46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89401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7" y="128909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65444" indent="-165444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30883" indent="-165444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497867" indent="-166973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63293" indent="-165444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lIns="88235" tIns="44127" rIns="88235" bIns="44127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7" y="472181"/>
            <a:ext cx="8329613" cy="292388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99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lIns="89937" tIns="44976" rIns="89937" bIns="44976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7" y="871775"/>
            <a:ext cx="8329613" cy="450099"/>
          </a:xfrm>
        </p:spPr>
        <p:txBody>
          <a:bodyPr/>
          <a:lstStyle>
            <a:lvl1pPr marL="0" indent="0">
              <a:buNone/>
              <a:defRPr sz="1300" baseline="0"/>
            </a:lvl1pPr>
            <a:lvl2pPr marL="0" indent="0">
              <a:buFont typeface="Arial" panose="020B0604020202020204" pitchFamily="34" charset="0"/>
              <a:buNone/>
              <a:defRPr sz="1300"/>
            </a:lvl2pPr>
            <a:lvl3pPr marL="0" indent="0">
              <a:buNone/>
              <a:defRPr sz="1300"/>
            </a:lvl3pPr>
            <a:lvl4pPr marL="0" indent="0">
              <a:buNone/>
              <a:defRPr sz="1300"/>
            </a:lvl4pPr>
            <a:lvl5pPr marL="0" indent="0">
              <a:buNone/>
              <a:defRPr sz="13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7" y="1462096"/>
            <a:ext cx="8329613" cy="3216275"/>
          </a:xfrm>
        </p:spPr>
        <p:txBody>
          <a:bodyPr tIns="1068635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7" y="472180"/>
            <a:ext cx="8329613" cy="292388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33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9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9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21"/>
            <a:ext cx="9144000" cy="3424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89511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b="0" smtClean="0">
              <a:solidFill>
                <a:srgbClr val="59452A"/>
              </a:solidFill>
            </a:endParaRPr>
          </a:p>
        </p:txBody>
      </p:sp>
      <p:pic>
        <p:nvPicPr>
          <p:cNvPr id="7" name="Picture 22" descr="BMGF_BoxLogo_red_WEBSAFE2.4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9447" y="3072281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7948" y="926382"/>
            <a:ext cx="8146177" cy="492443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07019" y="3688159"/>
            <a:ext cx="5036084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8683205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EC1D3D-4527-4246-9A18-5C47E0E04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9902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387" y="3305501"/>
            <a:ext cx="7771995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387" y="2180603"/>
            <a:ext cx="7771995" cy="1124913"/>
          </a:xfrm>
        </p:spPr>
        <p:txBody>
          <a:bodyPr anchor="b"/>
          <a:lstStyle>
            <a:lvl1pPr marL="0" indent="0">
              <a:buNone/>
              <a:defRPr sz="2000"/>
            </a:lvl1pPr>
            <a:lvl2pPr marL="415638" indent="0">
              <a:buNone/>
              <a:defRPr sz="1800"/>
            </a:lvl2pPr>
            <a:lvl3pPr marL="831398" indent="0">
              <a:buNone/>
              <a:defRPr sz="1600"/>
            </a:lvl3pPr>
            <a:lvl4pPr marL="1247123" indent="0">
              <a:buNone/>
              <a:defRPr sz="1400"/>
            </a:lvl4pPr>
            <a:lvl5pPr marL="1662836" indent="0">
              <a:buNone/>
              <a:defRPr sz="1400"/>
            </a:lvl5pPr>
            <a:lvl6pPr marL="2078529" indent="0">
              <a:buNone/>
              <a:defRPr sz="1400"/>
            </a:lvl6pPr>
            <a:lvl7pPr marL="2494239" indent="0">
              <a:buNone/>
              <a:defRPr sz="1400"/>
            </a:lvl7pPr>
            <a:lvl8pPr marL="2909938" indent="0">
              <a:buNone/>
              <a:defRPr sz="1400"/>
            </a:lvl8pPr>
            <a:lvl9pPr marL="33256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C82FD-5F86-447B-90E5-4280AA50F17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88876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493030"/>
            <a:ext cx="2117131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4" y="1493030"/>
            <a:ext cx="2117132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4CBF8-235A-4FEE-8EB9-4E3FDC5A670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11646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06533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151657"/>
            <a:ext cx="403988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15638" indent="0">
              <a:buNone/>
              <a:defRPr sz="2000" b="1"/>
            </a:lvl2pPr>
            <a:lvl3pPr marL="831398" indent="0">
              <a:buNone/>
              <a:defRPr sz="1800" b="1"/>
            </a:lvl3pPr>
            <a:lvl4pPr marL="1247123" indent="0">
              <a:buNone/>
              <a:defRPr sz="1600" b="1"/>
            </a:lvl4pPr>
            <a:lvl5pPr marL="1662836" indent="0">
              <a:buNone/>
              <a:defRPr sz="1600" b="1"/>
            </a:lvl5pPr>
            <a:lvl6pPr marL="2078529" indent="0">
              <a:buNone/>
              <a:defRPr sz="1600" b="1"/>
            </a:lvl6pPr>
            <a:lvl7pPr marL="2494239" indent="0">
              <a:buNone/>
              <a:defRPr sz="1600" b="1"/>
            </a:lvl7pPr>
            <a:lvl8pPr marL="2909938" indent="0">
              <a:buNone/>
              <a:defRPr sz="1600" b="1"/>
            </a:lvl8pPr>
            <a:lvl9pPr marL="33256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1631489"/>
            <a:ext cx="403988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151657"/>
            <a:ext cx="404150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15638" indent="0">
              <a:buNone/>
              <a:defRPr sz="2000" b="1"/>
            </a:lvl2pPr>
            <a:lvl3pPr marL="831398" indent="0">
              <a:buNone/>
              <a:defRPr sz="1800" b="1"/>
            </a:lvl3pPr>
            <a:lvl4pPr marL="1247123" indent="0">
              <a:buNone/>
              <a:defRPr sz="1600" b="1"/>
            </a:lvl4pPr>
            <a:lvl5pPr marL="1662836" indent="0">
              <a:buNone/>
              <a:defRPr sz="1600" b="1"/>
            </a:lvl5pPr>
            <a:lvl6pPr marL="2078529" indent="0">
              <a:buNone/>
              <a:defRPr sz="1600" b="1"/>
            </a:lvl6pPr>
            <a:lvl7pPr marL="2494239" indent="0">
              <a:buNone/>
              <a:defRPr sz="1600" b="1"/>
            </a:lvl7pPr>
            <a:lvl8pPr marL="2909938" indent="0">
              <a:buNone/>
              <a:defRPr sz="1600" b="1"/>
            </a:lvl8pPr>
            <a:lvl9pPr marL="33256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1631489"/>
            <a:ext cx="404150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A5099-F55D-4CCF-AACA-12ED5A82E7B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2220254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A5B70-7D81-4BD2-870C-2AE865D64C3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8519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24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25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723078-1AB8-4C9F-B771-2C25EA563A9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66901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460813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05335"/>
            <a:ext cx="5112217" cy="438910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076322"/>
            <a:ext cx="3008044" cy="3518086"/>
          </a:xfrm>
        </p:spPr>
        <p:txBody>
          <a:bodyPr/>
          <a:lstStyle>
            <a:lvl1pPr marL="0" indent="0">
              <a:buNone/>
              <a:defRPr sz="1400"/>
            </a:lvl1pPr>
            <a:lvl2pPr marL="415638" indent="0">
              <a:buNone/>
              <a:defRPr sz="1200"/>
            </a:lvl2pPr>
            <a:lvl3pPr marL="831398" indent="0">
              <a:buNone/>
              <a:defRPr sz="1000"/>
            </a:lvl3pPr>
            <a:lvl4pPr marL="1247123" indent="0">
              <a:buNone/>
              <a:defRPr sz="900"/>
            </a:lvl4pPr>
            <a:lvl5pPr marL="1662836" indent="0">
              <a:buNone/>
              <a:defRPr sz="900"/>
            </a:lvl5pPr>
            <a:lvl6pPr marL="2078529" indent="0">
              <a:buNone/>
              <a:defRPr sz="900"/>
            </a:lvl6pPr>
            <a:lvl7pPr marL="2494239" indent="0">
              <a:buNone/>
              <a:defRPr sz="900"/>
            </a:lvl7pPr>
            <a:lvl8pPr marL="2909938" indent="0">
              <a:buNone/>
              <a:defRPr sz="900"/>
            </a:lvl8pPr>
            <a:lvl9pPr marL="33256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04827-BFB1-4347-90D1-1CA4DABD3A2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10968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5" y="3718115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5" y="459200"/>
            <a:ext cx="5486400" cy="3086829"/>
          </a:xfrm>
        </p:spPr>
        <p:txBody>
          <a:bodyPr/>
          <a:lstStyle>
            <a:lvl1pPr marL="0" indent="0">
              <a:buNone/>
              <a:defRPr sz="3200"/>
            </a:lvl1pPr>
            <a:lvl2pPr marL="415638" indent="0">
              <a:buNone/>
              <a:defRPr sz="2800"/>
            </a:lvl2pPr>
            <a:lvl3pPr marL="831398" indent="0">
              <a:buNone/>
              <a:defRPr sz="2400"/>
            </a:lvl3pPr>
            <a:lvl4pPr marL="1247123" indent="0">
              <a:buNone/>
              <a:defRPr sz="2000"/>
            </a:lvl4pPr>
            <a:lvl5pPr marL="1662836" indent="0">
              <a:buNone/>
              <a:defRPr sz="2000"/>
            </a:lvl5pPr>
            <a:lvl6pPr marL="2078529" indent="0">
              <a:buNone/>
              <a:defRPr sz="2000"/>
            </a:lvl6pPr>
            <a:lvl7pPr marL="2494239" indent="0">
              <a:buNone/>
              <a:defRPr sz="2000"/>
            </a:lvl7pPr>
            <a:lvl8pPr marL="2909938" indent="0">
              <a:buNone/>
              <a:defRPr sz="2000"/>
            </a:lvl8pPr>
            <a:lvl9pPr marL="3325649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5" y="4025877"/>
            <a:ext cx="5486400" cy="603760"/>
          </a:xfrm>
        </p:spPr>
        <p:txBody>
          <a:bodyPr/>
          <a:lstStyle>
            <a:lvl1pPr marL="0" indent="0">
              <a:buNone/>
              <a:defRPr sz="1400"/>
            </a:lvl1pPr>
            <a:lvl2pPr marL="415638" indent="0">
              <a:buNone/>
              <a:defRPr sz="1200"/>
            </a:lvl2pPr>
            <a:lvl3pPr marL="831398" indent="0">
              <a:buNone/>
              <a:defRPr sz="1000"/>
            </a:lvl3pPr>
            <a:lvl4pPr marL="1247123" indent="0">
              <a:buNone/>
              <a:defRPr sz="900"/>
            </a:lvl4pPr>
            <a:lvl5pPr marL="1662836" indent="0">
              <a:buNone/>
              <a:defRPr sz="900"/>
            </a:lvl5pPr>
            <a:lvl6pPr marL="2078529" indent="0">
              <a:buNone/>
              <a:defRPr sz="900"/>
            </a:lvl6pPr>
            <a:lvl7pPr marL="2494239" indent="0">
              <a:buNone/>
              <a:defRPr sz="900"/>
            </a:lvl7pPr>
            <a:lvl8pPr marL="2909938" indent="0">
              <a:buNone/>
              <a:defRPr sz="900"/>
            </a:lvl8pPr>
            <a:lvl9pPr marL="33256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62D07-EB30-4975-9EC3-C1637F64EAC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622219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1B5FB1-F8DD-47F6-92D0-98AEF215DB1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872722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1808" y="176860"/>
            <a:ext cx="584775" cy="225225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176860"/>
            <a:ext cx="6440486" cy="22522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B209EF-483B-458E-BC61-977FC10F46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21416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7" y="1289081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67987" indent="-167987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35972" indent="-167987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05519" indent="-169543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73497" indent="-167987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lIns="89585" tIns="44800" rIns="89585" bIns="44800"/>
          <a:lstStyle/>
          <a:p>
            <a:pPr algn="r" defTabSz="895112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7" y="472181"/>
            <a:ext cx="8329613" cy="292388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16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1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9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32"/>
            <a:ext cx="9144000" cy="3424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b="0" smtClean="0">
              <a:solidFill>
                <a:srgbClr val="59452A"/>
              </a:solidFill>
            </a:endParaRPr>
          </a:p>
        </p:txBody>
      </p:sp>
      <p:pic>
        <p:nvPicPr>
          <p:cNvPr id="7" name="Picture 22" descr="BMGF_BoxLogo_red_WEBSAFE2.4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9447" y="3072293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097" y="926488"/>
            <a:ext cx="8146177" cy="492443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07019" y="3688159"/>
            <a:ext cx="5036084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591903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EC1D3D-4527-4246-9A18-5C47E0E0451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231076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535" y="3305501"/>
            <a:ext cx="7771995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3535" y="2180618"/>
            <a:ext cx="7771995" cy="1124913"/>
          </a:xfrm>
        </p:spPr>
        <p:txBody>
          <a:bodyPr anchor="b"/>
          <a:lstStyle>
            <a:lvl1pPr marL="0" indent="0">
              <a:buNone/>
              <a:defRPr sz="2000"/>
            </a:lvl1pPr>
            <a:lvl2pPr marL="409341" indent="0">
              <a:buNone/>
              <a:defRPr sz="1800"/>
            </a:lvl2pPr>
            <a:lvl3pPr marL="818805" indent="0">
              <a:buNone/>
              <a:defRPr sz="1600"/>
            </a:lvl3pPr>
            <a:lvl4pPr marL="1228233" indent="0">
              <a:buNone/>
              <a:defRPr sz="1400"/>
            </a:lvl4pPr>
            <a:lvl5pPr marL="1637648" indent="0">
              <a:buNone/>
              <a:defRPr sz="1400"/>
            </a:lvl5pPr>
            <a:lvl6pPr marL="2047044" indent="0">
              <a:buNone/>
              <a:defRPr sz="1400"/>
            </a:lvl6pPr>
            <a:lvl7pPr marL="2456455" indent="0">
              <a:buNone/>
              <a:defRPr sz="1400"/>
            </a:lvl7pPr>
            <a:lvl8pPr marL="2865857" indent="0">
              <a:buNone/>
              <a:defRPr sz="1400"/>
            </a:lvl8pPr>
            <a:lvl9pPr marL="327527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C82FD-5F86-447B-90E5-4280AA50F17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643149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493033"/>
            <a:ext cx="2117131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4" y="1493033"/>
            <a:ext cx="2117132" cy="935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4CBF8-235A-4FEE-8EB9-4E3FDC5A670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25338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425064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06533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151657"/>
            <a:ext cx="403988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09341" indent="0">
              <a:buNone/>
              <a:defRPr sz="2000" b="1"/>
            </a:lvl2pPr>
            <a:lvl3pPr marL="818805" indent="0">
              <a:buNone/>
              <a:defRPr sz="1800" b="1"/>
            </a:lvl3pPr>
            <a:lvl4pPr marL="1228233" indent="0">
              <a:buNone/>
              <a:defRPr sz="1600" b="1"/>
            </a:lvl4pPr>
            <a:lvl5pPr marL="1637648" indent="0">
              <a:buNone/>
              <a:defRPr sz="1600" b="1"/>
            </a:lvl5pPr>
            <a:lvl6pPr marL="2047044" indent="0">
              <a:buNone/>
              <a:defRPr sz="1600" b="1"/>
            </a:lvl6pPr>
            <a:lvl7pPr marL="2456455" indent="0">
              <a:buNone/>
              <a:defRPr sz="1600" b="1"/>
            </a:lvl7pPr>
            <a:lvl8pPr marL="2865857" indent="0">
              <a:buNone/>
              <a:defRPr sz="1600" b="1"/>
            </a:lvl8pPr>
            <a:lvl9pPr marL="32752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1631489"/>
            <a:ext cx="403988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151657"/>
            <a:ext cx="404150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09341" indent="0">
              <a:buNone/>
              <a:defRPr sz="2000" b="1"/>
            </a:lvl2pPr>
            <a:lvl3pPr marL="818805" indent="0">
              <a:buNone/>
              <a:defRPr sz="1800" b="1"/>
            </a:lvl3pPr>
            <a:lvl4pPr marL="1228233" indent="0">
              <a:buNone/>
              <a:defRPr sz="1600" b="1"/>
            </a:lvl4pPr>
            <a:lvl5pPr marL="1637648" indent="0">
              <a:buNone/>
              <a:defRPr sz="1600" b="1"/>
            </a:lvl5pPr>
            <a:lvl6pPr marL="2047044" indent="0">
              <a:buNone/>
              <a:defRPr sz="1600" b="1"/>
            </a:lvl6pPr>
            <a:lvl7pPr marL="2456455" indent="0">
              <a:buNone/>
              <a:defRPr sz="1600" b="1"/>
            </a:lvl7pPr>
            <a:lvl8pPr marL="2865857" indent="0">
              <a:buNone/>
              <a:defRPr sz="1600" b="1"/>
            </a:lvl8pPr>
            <a:lvl9pPr marL="327527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1631489"/>
            <a:ext cx="404150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AA5099-F55D-4CCF-AACA-12ED5A82E7B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598979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A5B70-7D81-4BD2-870C-2AE865D64C3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068992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723078-1AB8-4C9F-B771-2C25EA563A9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0180948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460831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05335"/>
            <a:ext cx="5112217" cy="438910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076322"/>
            <a:ext cx="3008044" cy="3518086"/>
          </a:xfrm>
        </p:spPr>
        <p:txBody>
          <a:bodyPr/>
          <a:lstStyle>
            <a:lvl1pPr marL="0" indent="0">
              <a:buNone/>
              <a:defRPr sz="1400"/>
            </a:lvl1pPr>
            <a:lvl2pPr marL="409341" indent="0">
              <a:buNone/>
              <a:defRPr sz="1200"/>
            </a:lvl2pPr>
            <a:lvl3pPr marL="818805" indent="0">
              <a:buNone/>
              <a:defRPr sz="1000"/>
            </a:lvl3pPr>
            <a:lvl4pPr marL="1228233" indent="0">
              <a:buNone/>
              <a:defRPr sz="900"/>
            </a:lvl4pPr>
            <a:lvl5pPr marL="1637648" indent="0">
              <a:buNone/>
              <a:defRPr sz="900"/>
            </a:lvl5pPr>
            <a:lvl6pPr marL="2047044" indent="0">
              <a:buNone/>
              <a:defRPr sz="900"/>
            </a:lvl6pPr>
            <a:lvl7pPr marL="2456455" indent="0">
              <a:buNone/>
              <a:defRPr sz="900"/>
            </a:lvl7pPr>
            <a:lvl8pPr marL="2865857" indent="0">
              <a:buNone/>
              <a:defRPr sz="900"/>
            </a:lvl8pPr>
            <a:lvl9pPr marL="327527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04827-BFB1-4347-90D1-1CA4DABD3A2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66060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5" y="3718115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5" y="459200"/>
            <a:ext cx="5486400" cy="3086829"/>
          </a:xfrm>
        </p:spPr>
        <p:txBody>
          <a:bodyPr/>
          <a:lstStyle>
            <a:lvl1pPr marL="0" indent="0">
              <a:buNone/>
              <a:defRPr sz="3200"/>
            </a:lvl1pPr>
            <a:lvl2pPr marL="409341" indent="0">
              <a:buNone/>
              <a:defRPr sz="2800"/>
            </a:lvl2pPr>
            <a:lvl3pPr marL="818805" indent="0">
              <a:buNone/>
              <a:defRPr sz="2400"/>
            </a:lvl3pPr>
            <a:lvl4pPr marL="1228233" indent="0">
              <a:buNone/>
              <a:defRPr sz="2000"/>
            </a:lvl4pPr>
            <a:lvl5pPr marL="1637648" indent="0">
              <a:buNone/>
              <a:defRPr sz="2000"/>
            </a:lvl5pPr>
            <a:lvl6pPr marL="2047044" indent="0">
              <a:buNone/>
              <a:defRPr sz="2000"/>
            </a:lvl6pPr>
            <a:lvl7pPr marL="2456455" indent="0">
              <a:buNone/>
              <a:defRPr sz="2000"/>
            </a:lvl7pPr>
            <a:lvl8pPr marL="2865857" indent="0">
              <a:buNone/>
              <a:defRPr sz="2000"/>
            </a:lvl8pPr>
            <a:lvl9pPr marL="3275272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5" y="4025877"/>
            <a:ext cx="5486400" cy="603760"/>
          </a:xfrm>
        </p:spPr>
        <p:txBody>
          <a:bodyPr/>
          <a:lstStyle>
            <a:lvl1pPr marL="0" indent="0">
              <a:buNone/>
              <a:defRPr sz="1400"/>
            </a:lvl1pPr>
            <a:lvl2pPr marL="409341" indent="0">
              <a:buNone/>
              <a:defRPr sz="1200"/>
            </a:lvl2pPr>
            <a:lvl3pPr marL="818805" indent="0">
              <a:buNone/>
              <a:defRPr sz="1000"/>
            </a:lvl3pPr>
            <a:lvl4pPr marL="1228233" indent="0">
              <a:buNone/>
              <a:defRPr sz="900"/>
            </a:lvl4pPr>
            <a:lvl5pPr marL="1637648" indent="0">
              <a:buNone/>
              <a:defRPr sz="900"/>
            </a:lvl5pPr>
            <a:lvl6pPr marL="2047044" indent="0">
              <a:buNone/>
              <a:defRPr sz="900"/>
            </a:lvl6pPr>
            <a:lvl7pPr marL="2456455" indent="0">
              <a:buNone/>
              <a:defRPr sz="900"/>
            </a:lvl7pPr>
            <a:lvl8pPr marL="2865857" indent="0">
              <a:buNone/>
              <a:defRPr sz="900"/>
            </a:lvl8pPr>
            <a:lvl9pPr marL="327527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62D07-EB30-4975-9EC3-C1637F64EAC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7280537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1B5FB1-F8DD-47F6-92D0-98AEF215DB1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680477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1959" y="176971"/>
            <a:ext cx="584775" cy="225225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176971"/>
            <a:ext cx="6440486" cy="22522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B209EF-483B-458E-BC61-977FC10F46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62171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7" y="1289090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65444" indent="-165444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30883" indent="-165444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497867" indent="-166973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63293" indent="-165444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lIns="88235" tIns="44127" rIns="88235" bIns="44127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7" y="472181"/>
            <a:ext cx="8329613" cy="292388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81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lIns="89937" tIns="44976" rIns="89937" bIns="44976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7" y="871766"/>
            <a:ext cx="8329613" cy="450099"/>
          </a:xfrm>
        </p:spPr>
        <p:txBody>
          <a:bodyPr/>
          <a:lstStyle>
            <a:lvl1pPr marL="0" indent="0">
              <a:buNone/>
              <a:defRPr sz="1300" baseline="0"/>
            </a:lvl1pPr>
            <a:lvl2pPr marL="0" indent="0">
              <a:buFont typeface="Arial" panose="020B0604020202020204" pitchFamily="34" charset="0"/>
              <a:buNone/>
              <a:defRPr sz="1300"/>
            </a:lvl2pPr>
            <a:lvl3pPr marL="0" indent="0">
              <a:buNone/>
              <a:defRPr sz="1300"/>
            </a:lvl3pPr>
            <a:lvl4pPr marL="0" indent="0">
              <a:buNone/>
              <a:defRPr sz="1300"/>
            </a:lvl4pPr>
            <a:lvl5pPr marL="0" indent="0">
              <a:buNone/>
              <a:defRPr sz="13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7" y="1462096"/>
            <a:ext cx="8329613" cy="3216275"/>
          </a:xfrm>
        </p:spPr>
        <p:txBody>
          <a:bodyPr tIns="1068635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7" y="472180"/>
            <a:ext cx="8329613" cy="292388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77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804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63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1" y="3493036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9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 Titl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2"/>
          <p:cNvPicPr>
            <a:picLocks noChangeAspect="1"/>
          </p:cNvPicPr>
          <p:nvPr userDrawn="1"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4595368" y="1346484"/>
            <a:ext cx="4476885" cy="3955861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065179" y="2969247"/>
            <a:ext cx="7538185" cy="758429"/>
          </a:xfrm>
        </p:spPr>
        <p:txBody>
          <a:bodyPr bIns="0"/>
          <a:lstStyle>
            <a:lvl1pPr>
              <a:defRPr sz="2625">
                <a:solidFill>
                  <a:schemeClr val="tx1"/>
                </a:solidFill>
                <a:latin typeface="Andes Bold" pitchFamily="50" charset="0"/>
                <a:cs typeface="Arial"/>
              </a:defRPr>
            </a:lvl1pPr>
          </a:lstStyle>
          <a:p>
            <a:pPr lvl="0"/>
            <a:r>
              <a:rPr lang="en-US" noProof="0" dirty="0" smtClean="0"/>
              <a:t>Master Title: Version 2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065332" y="3848488"/>
            <a:ext cx="7539711" cy="4857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500" b="0" baseline="0">
                <a:solidFill>
                  <a:schemeClr val="accent2"/>
                </a:solidFill>
                <a:latin typeface="Andes" pitchFamily="50" charset="0"/>
                <a:cs typeface="Arial"/>
              </a:defRPr>
            </a:lvl1pPr>
          </a:lstStyle>
          <a:p>
            <a:pPr lvl="0"/>
            <a:r>
              <a:rPr lang="en-US" noProof="0" dirty="0" smtClean="0"/>
              <a:t>Name of the contributor</a:t>
            </a:r>
          </a:p>
          <a:p>
            <a:pPr lvl="0"/>
            <a:r>
              <a:rPr lang="en-US" noProof="0" dirty="0" smtClean="0"/>
              <a:t>Name of the event, venue, 00 Month 2012</a:t>
            </a:r>
          </a:p>
        </p:txBody>
      </p:sp>
    </p:spTree>
    <p:extLst>
      <p:ext uri="{BB962C8B-B14F-4D97-AF65-F5344CB8AC3E}">
        <p14:creationId xmlns:p14="http://schemas.microsoft.com/office/powerpoint/2010/main" val="17026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32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9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36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727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9389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289051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20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9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85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73932"/>
            <a:ext cx="3170238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42" y="4934548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457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9" y="871712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9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9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50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875742" y="4934548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790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875742" y="4934548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7133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77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49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2"/>
            <a:ext cx="9144000" cy="3348747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51"/>
            <a:endParaRPr lang="en-US" sz="230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091" y="403055"/>
            <a:ext cx="7983537" cy="426592"/>
          </a:xfrm>
        </p:spPr>
        <p:txBody>
          <a:bodyPr tIns="0">
            <a:spAutoFit/>
          </a:bodyPr>
          <a:lstStyle>
            <a:lvl1pPr>
              <a:lnSpc>
                <a:spcPct val="77000"/>
              </a:lnSpc>
              <a:defRPr sz="360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088" y="3917355"/>
            <a:ext cx="5526086" cy="345479"/>
          </a:xfrm>
        </p:spPr>
        <p:txBody>
          <a:bodyPr wrap="square" anchor="t" anchorCtr="0">
            <a:noAutofit/>
          </a:bodyPr>
          <a:lstStyle>
            <a:lvl1pPr marL="0" indent="0" algn="l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None/>
              <a:defRPr sz="1700" spc="0" baseline="0">
                <a:solidFill>
                  <a:schemeClr val="accent2"/>
                </a:solidFill>
              </a:defRPr>
            </a:lvl1pPr>
            <a:lvl2pPr marL="457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00090" y="1176011"/>
            <a:ext cx="7983538" cy="930811"/>
          </a:xfrm>
        </p:spPr>
        <p:txBody>
          <a:bodyPr/>
          <a:lstStyle>
            <a:lvl1pPr marL="0" indent="0">
              <a:lnSpc>
                <a:spcPts val="2600"/>
              </a:lnSpc>
              <a:spcAft>
                <a:spcPts val="400"/>
              </a:spcAft>
              <a:buNone/>
              <a:defRPr>
                <a:solidFill>
                  <a:srgbClr val="FFFFFF"/>
                </a:solidFill>
              </a:defRPr>
            </a:lvl1pPr>
            <a:lvl2pPr marL="0" indent="0">
              <a:lnSpc>
                <a:spcPts val="2800"/>
              </a:lnSpc>
              <a:spcAft>
                <a:spcPts val="600"/>
              </a:spcAft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ts val="2800"/>
              </a:lnSpc>
              <a:spcAft>
                <a:spcPts val="600"/>
              </a:spcAft>
              <a:buNone/>
              <a:defRPr sz="2400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7" name="Picture 6" descr="BMGF_BoxLogo_red_WEBSAFE2.42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1072" y="3010662"/>
            <a:ext cx="2212848" cy="165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117555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93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68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10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44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8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67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83" y="1575140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9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6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10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44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8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67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8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93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68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10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44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8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67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83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73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27" y="74428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98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8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8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7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03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15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10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11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71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9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39760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817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71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4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30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4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2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3" y="349304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3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250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6236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28906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5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9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51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756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4720530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51"/>
            <a:endParaRPr lang="en-US" sz="230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1" y="416758"/>
            <a:ext cx="7983537" cy="415498"/>
          </a:xfrm>
        </p:spPr>
        <p:txBody>
          <a:bodyPr anchor="t" anchorCtr="0"/>
          <a:lstStyle>
            <a:lvl1pPr>
              <a:lnSpc>
                <a:spcPct val="75000"/>
              </a:lnSpc>
              <a:defRPr sz="36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3810" y="4807074"/>
            <a:ext cx="2306211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42"/>
            <a:ext cx="384048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632882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2" y="871727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2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8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1289066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6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195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488955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1087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25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  <p:pic>
        <p:nvPicPr>
          <p:cNvPr id="3" name="Picture 2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0311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8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24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2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30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8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9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8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24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2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30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8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9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8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24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2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30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80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96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84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40" y="74428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438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7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24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25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10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05488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817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71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4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09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0" y="4720530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51"/>
            <a:endParaRPr lang="en-US" sz="230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1" y="347850"/>
            <a:ext cx="7983537" cy="498598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0091" y="1176833"/>
            <a:ext cx="7983537" cy="3407569"/>
          </a:xfrm>
        </p:spPr>
        <p:txBody>
          <a:bodyPr/>
          <a:lstStyle>
            <a:lvl1pPr>
              <a:lnSpc>
                <a:spcPts val="2600"/>
              </a:lnSpc>
              <a:buClr>
                <a:schemeClr val="accent2"/>
              </a:buClr>
              <a:defRPr spc="0" baseline="0"/>
            </a:lvl1pPr>
            <a:lvl2pPr>
              <a:lnSpc>
                <a:spcPts val="2400"/>
              </a:lnSpc>
              <a:buClr>
                <a:schemeClr val="accent2"/>
              </a:buClr>
              <a:defRPr spc="0" baseline="0"/>
            </a:lvl2pPr>
            <a:lvl3pPr marL="682514" indent="-225389">
              <a:lnSpc>
                <a:spcPts val="2500"/>
              </a:lnSpc>
              <a:buClr>
                <a:schemeClr val="accent2"/>
              </a:buClr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ts val="2000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700"/>
              </a:lnSpc>
              <a:defRPr lang="en-US" sz="1400" b="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3" y="4806984"/>
            <a:ext cx="2306211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42"/>
            <a:ext cx="384048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690976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4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2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3" y="349304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3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599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8535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28906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99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9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13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7" name="Picture 6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477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2" y="871727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2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  <p:pic>
        <p:nvPicPr>
          <p:cNvPr id="8" name="Picture 7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79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1289066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6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187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488955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5357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59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2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4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2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3" y="349304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3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524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4720530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51"/>
            <a:endParaRPr lang="en-US" sz="230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1" y="347598"/>
            <a:ext cx="7983537" cy="498598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0089" y="1177455"/>
            <a:ext cx="3783013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08" indent="0">
              <a:buNone/>
              <a:defRPr sz="2000" b="1"/>
            </a:lvl2pPr>
            <a:lvl3pPr marL="914214" indent="0">
              <a:buNone/>
              <a:defRPr sz="1800" b="1"/>
            </a:lvl3pPr>
            <a:lvl4pPr marL="1371321" indent="0">
              <a:buNone/>
              <a:defRPr sz="1600" b="1"/>
            </a:lvl4pPr>
            <a:lvl5pPr marL="1828430" indent="0">
              <a:buNone/>
              <a:defRPr sz="1600" b="1"/>
            </a:lvl5pPr>
            <a:lvl6pPr marL="2285537" indent="0">
              <a:buNone/>
              <a:defRPr sz="1600" b="1"/>
            </a:lvl6pPr>
            <a:lvl7pPr marL="2742644" indent="0">
              <a:buNone/>
              <a:defRPr sz="1600" b="1"/>
            </a:lvl7pPr>
            <a:lvl8pPr marL="3199752" indent="0">
              <a:buNone/>
              <a:defRPr sz="1600" b="1"/>
            </a:lvl8pPr>
            <a:lvl9pPr marL="365686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0101" y="1730832"/>
            <a:ext cx="3783012" cy="2932674"/>
          </a:xfrm>
        </p:spPr>
        <p:txBody>
          <a:bodyPr/>
          <a:lstStyle>
            <a:lvl1pPr marL="228563" indent="-228563">
              <a:lnSpc>
                <a:spcPts val="2400"/>
              </a:lnSpc>
              <a:defRPr sz="2000" spc="0" baseline="0"/>
            </a:lvl1pPr>
            <a:lvl2pPr marL="461887" indent="-233325">
              <a:lnSpc>
                <a:spcPts val="2400"/>
              </a:lnSpc>
              <a:defRPr sz="1800" spc="0" baseline="0"/>
            </a:lvl2pPr>
            <a:lvl3pPr marL="633310" indent="-226976">
              <a:lnSpc>
                <a:spcPts val="2400"/>
              </a:lnSpc>
              <a:defRPr sz="1600" spc="0" baseline="0"/>
            </a:lvl3pPr>
            <a:lvl4pPr marL="1050183" indent="-228818">
              <a:defRPr sz="1700"/>
            </a:lvl4pPr>
            <a:lvl5pPr marL="1279002" indent="-206334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1855" y="1177455"/>
            <a:ext cx="4021770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08" indent="0">
              <a:buNone/>
              <a:defRPr sz="2000" b="1"/>
            </a:lvl2pPr>
            <a:lvl3pPr marL="914214" indent="0">
              <a:buNone/>
              <a:defRPr sz="1800" b="1"/>
            </a:lvl3pPr>
            <a:lvl4pPr marL="1371321" indent="0">
              <a:buNone/>
              <a:defRPr sz="1600" b="1"/>
            </a:lvl4pPr>
            <a:lvl5pPr marL="1828430" indent="0">
              <a:buNone/>
              <a:defRPr sz="1600" b="1"/>
            </a:lvl5pPr>
            <a:lvl6pPr marL="2285537" indent="0">
              <a:buNone/>
              <a:defRPr sz="1600" b="1"/>
            </a:lvl6pPr>
            <a:lvl7pPr marL="2742644" indent="0">
              <a:buNone/>
              <a:defRPr sz="1600" b="1"/>
            </a:lvl7pPr>
            <a:lvl8pPr marL="3199752" indent="0">
              <a:buNone/>
              <a:defRPr sz="1600" b="1"/>
            </a:lvl8pPr>
            <a:lvl9pPr marL="365686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0926" y="1730832"/>
            <a:ext cx="4022725" cy="2932674"/>
          </a:xfrm>
        </p:spPr>
        <p:txBody>
          <a:bodyPr/>
          <a:lstStyle>
            <a:lvl1pPr marL="231737" indent="-231737">
              <a:lnSpc>
                <a:spcPts val="2400"/>
              </a:lnSpc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887" indent="-230150">
              <a:lnSpc>
                <a:spcPts val="2400"/>
              </a:lnSpc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514" indent="-220627">
              <a:lnSpc>
                <a:spcPts val="2400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183" indent="-236755">
              <a:defRPr sz="1700"/>
            </a:lvl4pPr>
            <a:lvl5pPr marL="1279002" indent="-220883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45383" y="4807458"/>
            <a:ext cx="2306211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94192" y="4809042"/>
            <a:ext cx="384048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134521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8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24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2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30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8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9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8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24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2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30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8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9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8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24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2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30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80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96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84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40" y="74428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10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75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24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25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8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26828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83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42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15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66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11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15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471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92302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22" indent="-171422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854" indent="-17301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7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66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7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92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614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0" y="4720530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51"/>
            <a:endParaRPr lang="en-US" sz="230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1" y="347598"/>
            <a:ext cx="7983537" cy="498598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0835" y="1173831"/>
            <a:ext cx="3840161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08" indent="0">
              <a:buNone/>
              <a:defRPr sz="2000" b="1"/>
            </a:lvl2pPr>
            <a:lvl3pPr marL="914214" indent="0">
              <a:buNone/>
              <a:defRPr sz="1800" b="1"/>
            </a:lvl3pPr>
            <a:lvl4pPr marL="1371321" indent="0">
              <a:buNone/>
              <a:defRPr sz="1600" b="1"/>
            </a:lvl4pPr>
            <a:lvl5pPr marL="1828430" indent="0">
              <a:buNone/>
              <a:defRPr sz="1600" b="1"/>
            </a:lvl5pPr>
            <a:lvl6pPr marL="2285537" indent="0">
              <a:buNone/>
              <a:defRPr sz="1600" b="1"/>
            </a:lvl6pPr>
            <a:lvl7pPr marL="2742644" indent="0">
              <a:buNone/>
              <a:defRPr sz="1600" b="1"/>
            </a:lvl7pPr>
            <a:lvl8pPr marL="3199752" indent="0">
              <a:buNone/>
              <a:defRPr sz="1600" b="1"/>
            </a:lvl8pPr>
            <a:lvl9pPr marL="365686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0813" y="1745989"/>
            <a:ext cx="3840162" cy="1076449"/>
          </a:xfrm>
        </p:spPr>
        <p:txBody>
          <a:bodyPr/>
          <a:lstStyle>
            <a:lvl1pPr marL="231737" indent="-231737">
              <a:lnSpc>
                <a:spcPts val="2200"/>
              </a:lnSpc>
              <a:spcBef>
                <a:spcPts val="0"/>
              </a:spcBef>
              <a:tabLst>
                <a:tab pos="231737" algn="l"/>
              </a:tabLst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887" indent="-230150">
              <a:lnSpc>
                <a:spcPts val="2200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514" indent="-220627">
              <a:lnSpc>
                <a:spcPts val="2200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183" indent="-228818">
              <a:defRPr sz="1700"/>
            </a:lvl4pPr>
            <a:lvl5pPr marL="1279002" indent="-206334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1882" y="1173831"/>
            <a:ext cx="4021769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08" indent="0">
              <a:buNone/>
              <a:defRPr sz="2000" b="1"/>
            </a:lvl2pPr>
            <a:lvl3pPr marL="914214" indent="0">
              <a:buNone/>
              <a:defRPr sz="1800" b="1"/>
            </a:lvl3pPr>
            <a:lvl4pPr marL="1371321" indent="0">
              <a:buNone/>
              <a:defRPr sz="1600" b="1"/>
            </a:lvl4pPr>
            <a:lvl5pPr marL="1828430" indent="0">
              <a:buNone/>
              <a:defRPr sz="1600" b="1"/>
            </a:lvl5pPr>
            <a:lvl6pPr marL="2285537" indent="0">
              <a:buNone/>
              <a:defRPr sz="1600" b="1"/>
            </a:lvl6pPr>
            <a:lvl7pPr marL="2742644" indent="0">
              <a:buNone/>
              <a:defRPr sz="1600" b="1"/>
            </a:lvl7pPr>
            <a:lvl8pPr marL="3199752" indent="0">
              <a:buNone/>
              <a:defRPr sz="1600" b="1"/>
            </a:lvl8pPr>
            <a:lvl9pPr marL="365686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700813" y="2889360"/>
            <a:ext cx="3840162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08" indent="0">
              <a:buNone/>
              <a:defRPr sz="2000" b="1"/>
            </a:lvl2pPr>
            <a:lvl3pPr marL="914214" indent="0">
              <a:buNone/>
              <a:defRPr sz="1800" b="1"/>
            </a:lvl3pPr>
            <a:lvl4pPr marL="1371321" indent="0">
              <a:buNone/>
              <a:defRPr sz="1600" b="1"/>
            </a:lvl4pPr>
            <a:lvl5pPr marL="1828430" indent="0">
              <a:buNone/>
              <a:defRPr sz="1600" b="1"/>
            </a:lvl5pPr>
            <a:lvl6pPr marL="2285537" indent="0">
              <a:buNone/>
              <a:defRPr sz="1600" b="1"/>
            </a:lvl6pPr>
            <a:lvl7pPr marL="2742644" indent="0">
              <a:buNone/>
              <a:defRPr sz="1600" b="1"/>
            </a:lvl7pPr>
            <a:lvl8pPr marL="3199752" indent="0">
              <a:buNone/>
              <a:defRPr sz="1600" b="1"/>
            </a:lvl8pPr>
            <a:lvl9pPr marL="365686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700815" y="3501473"/>
            <a:ext cx="3852861" cy="1194786"/>
          </a:xfrm>
        </p:spPr>
        <p:txBody>
          <a:bodyPr/>
          <a:lstStyle>
            <a:lvl1pPr marL="231737" indent="-231737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887" indent="-230150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514" indent="-220627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183" indent="-228818">
              <a:defRPr sz="1700"/>
            </a:lvl4pPr>
            <a:lvl5pPr marL="1279002" indent="-206334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660926" y="2889360"/>
            <a:ext cx="4022725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08" indent="0">
              <a:buNone/>
              <a:defRPr sz="2000" b="1"/>
            </a:lvl2pPr>
            <a:lvl3pPr marL="914214" indent="0">
              <a:buNone/>
              <a:defRPr sz="1800" b="1"/>
            </a:lvl3pPr>
            <a:lvl4pPr marL="1371321" indent="0">
              <a:buNone/>
              <a:defRPr sz="1600" b="1"/>
            </a:lvl4pPr>
            <a:lvl5pPr marL="1828430" indent="0">
              <a:buNone/>
              <a:defRPr sz="1600" b="1"/>
            </a:lvl5pPr>
            <a:lvl6pPr marL="2285537" indent="0">
              <a:buNone/>
              <a:defRPr sz="1600" b="1"/>
            </a:lvl6pPr>
            <a:lvl7pPr marL="2742644" indent="0">
              <a:buNone/>
              <a:defRPr sz="1600" b="1"/>
            </a:lvl7pPr>
            <a:lvl8pPr marL="3199752" indent="0">
              <a:buNone/>
              <a:defRPr sz="1600" b="1"/>
            </a:lvl8pPr>
            <a:lvl9pPr marL="365686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4660901" y="1745989"/>
            <a:ext cx="4022724" cy="1076449"/>
          </a:xfrm>
        </p:spPr>
        <p:txBody>
          <a:bodyPr/>
          <a:lstStyle>
            <a:lvl1pPr marL="231737" indent="-231737">
              <a:lnSpc>
                <a:spcPts val="2200"/>
              </a:lnSpc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887" indent="-230150">
              <a:lnSpc>
                <a:spcPts val="2200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514" indent="-220627">
              <a:lnSpc>
                <a:spcPts val="2200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183" indent="-228818">
              <a:defRPr sz="1700"/>
            </a:lvl4pPr>
            <a:lvl5pPr marL="1279002" indent="-206334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4660926" y="3501473"/>
            <a:ext cx="4022725" cy="1194786"/>
          </a:xfrm>
        </p:spPr>
        <p:txBody>
          <a:bodyPr/>
          <a:lstStyle>
            <a:lvl1pPr marL="231737" indent="-231737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887" indent="-230150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514" indent="-220627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183" indent="-228818">
              <a:defRPr sz="1700"/>
            </a:lvl4pPr>
            <a:lvl5pPr marL="1279002" indent="-206334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9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6245383" y="4807458"/>
            <a:ext cx="2306211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42"/>
            <a:ext cx="384048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503194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7" y="871712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95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409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7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39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853" indent="-171422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24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67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13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24" tIns="45712" rIns="91424" bIns="45712"/>
          <a:lstStyle/>
          <a:p>
            <a:endParaRPr lang="en-US">
              <a:solidFill>
                <a:srgbClr val="59452A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9A531-E2A4-4B60-BC8B-77A295CBAF8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62090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81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40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13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18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9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13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5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4396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6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58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0" y="4720530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51"/>
            <a:endParaRPr lang="en-US" sz="230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1" y="347598"/>
            <a:ext cx="7983537" cy="498598"/>
          </a:xfrm>
        </p:spPr>
        <p:txBody>
          <a:bodyPr>
            <a:sp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3" y="4807458"/>
            <a:ext cx="2306211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42"/>
            <a:ext cx="384048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344258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6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59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806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7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93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6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73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91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91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70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81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40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13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64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9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13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400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733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6378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4720530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21" tIns="45711" rIns="91421" bIns="45711" numCol="1" rtlCol="0" anchor="ctr" anchorCtr="0" compatLnSpc="1">
            <a:prstTxWarp prst="textNoShape">
              <a:avLst/>
            </a:prstTxWarp>
          </a:bodyPr>
          <a:lstStyle/>
          <a:p>
            <a:pPr algn="ctr" defTabSz="913951"/>
            <a:endParaRPr lang="en-US" sz="2300" dirty="0" smtClean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3" y="4807458"/>
            <a:ext cx="2306211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42"/>
            <a:ext cx="384048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827958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6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83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7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6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437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17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7" y="871712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7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7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48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7" y="484696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159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746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INSERT HEADLINE – TWO LINES ALL CAPS</a:t>
            </a:r>
            <a:endParaRPr lang="en-US"/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982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  <p:pic>
        <p:nvPicPr>
          <p:cNvPr id="3" name="Picture 2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362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with White Signa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astRM_833-03510159a_ppt.jpg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1787"/>
            <a:ext cx="9144000" cy="456057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3951258"/>
            <a:ext cx="4024312" cy="924983"/>
          </a:xfrm>
        </p:spPr>
        <p:txBody>
          <a:bodyPr>
            <a:noAutofit/>
          </a:bodyPr>
          <a:lstStyle>
            <a:lvl1pPr marL="0" indent="0">
              <a:lnSpc>
                <a:spcPts val="2925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25">
                <a:solidFill>
                  <a:schemeClr val="bg1"/>
                </a:solidFill>
              </a:defRPr>
            </a:lvl2pPr>
            <a:lvl3pPr marL="351000" indent="0">
              <a:buNone/>
              <a:defRPr/>
            </a:lvl3pPr>
          </a:lstStyle>
          <a:p>
            <a:pPr lvl="0"/>
            <a:r>
              <a:rPr lang="en-US" dirty="0" smtClean="0"/>
              <a:t>Master Title Slide Headlin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723964" y="1343214"/>
            <a:ext cx="3074395" cy="1545330"/>
            <a:chOff x="5701703" y="682760"/>
            <a:chExt cx="3074395" cy="2060440"/>
          </a:xfrm>
        </p:grpSpPr>
        <p:sp>
          <p:nvSpPr>
            <p:cNvPr id="6" name="Freeform 5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CA" sz="1350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cxnSp>
        <p:nvCxnSpPr>
          <p:cNvPr id="4" name="Straight Connector 3"/>
          <p:cNvCxnSpPr/>
          <p:nvPr/>
        </p:nvCxnSpPr>
        <p:spPr>
          <a:xfrm>
            <a:off x="457200" y="870157"/>
            <a:ext cx="86868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457201" y="310813"/>
            <a:ext cx="2183719" cy="476791"/>
            <a:chOff x="437687" y="5788818"/>
            <a:chExt cx="2183719" cy="63572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687" y="6039743"/>
              <a:ext cx="2183719" cy="384796"/>
            </a:xfrm>
            <a:prstGeom prst="rect">
              <a:avLst/>
            </a:prstGeom>
          </p:spPr>
        </p:pic>
        <p:sp>
          <p:nvSpPr>
            <p:cNvPr id="11" name="Freeform 1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CA" sz="135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3488" y="680442"/>
            <a:ext cx="2549350" cy="133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077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defRPr sz="1800" b="1">
                <a:solidFill>
                  <a:srgbClr val="002266"/>
                </a:solidFill>
              </a:defRPr>
            </a:lvl1pPr>
            <a:lvl2pPr marL="173831" indent="-173831">
              <a:spcBef>
                <a:spcPts val="468"/>
              </a:spcBef>
              <a:buFont typeface="Arial" pitchFamily="34" charset="0"/>
              <a:buChar char="•"/>
              <a:defRPr/>
            </a:lvl2pPr>
            <a:lvl3pPr marL="342900" indent="-173831">
              <a:buFont typeface="Arial" pitchFamily="34" charset="0"/>
              <a:buChar char="–"/>
              <a:defRPr/>
            </a:lvl3pPr>
            <a:lvl4pPr marL="516731" indent="-169069">
              <a:buFont typeface="Arial" pitchFamily="34" charset="0"/>
              <a:buChar char="•"/>
              <a:defRPr/>
            </a:lvl4pPr>
            <a:lvl5pPr marL="685800" indent="-169069">
              <a:buFont typeface="Arial" pitchFamily="34" charset="0"/>
              <a:buChar char="–"/>
              <a:tabLst/>
              <a:defRPr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4502" y="4929188"/>
            <a:ext cx="2573227" cy="1962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defTabSz="685800">
              <a:defRPr/>
            </a:pP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675" dirty="0" smtClean="0">
                <a:solidFill>
                  <a:srgbClr val="7F7F7F"/>
                </a:solidFill>
                <a:cs typeface="Arial" pitchFamily="34" charset="0"/>
              </a:rPr>
              <a:t>2014 </a:t>
            </a: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57994" y="871538"/>
            <a:ext cx="8686006" cy="0"/>
          </a:xfrm>
          <a:prstGeom prst="line">
            <a:avLst/>
          </a:prstGeom>
          <a:ln w="12700">
            <a:solidFill>
              <a:srgbClr val="0022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BBEE"/>
                </a:solidFill>
              </a:defRPr>
            </a:lvl1pPr>
          </a:lstStyle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/>
        </p:nvSpPr>
        <p:spPr>
          <a:xfrm>
            <a:off x="8144698" y="4922205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685800"/>
            <a:fld id="{597A8DCA-8F96-49CD-B4D5-7AC92F955860}" type="slidenum">
              <a:rPr lang="en-CA" sz="675" smtClean="0">
                <a:solidFill>
                  <a:srgbClr val="7F7F7F"/>
                </a:solidFill>
                <a:cs typeface="Arial" pitchFamily="34" charset="0"/>
              </a:rPr>
              <a:pPr algn="r" defTabSz="685800"/>
              <a:t>‹#›</a:t>
            </a:fld>
            <a:endParaRPr lang="en-CA" sz="675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129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1513776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6" y="1035846"/>
            <a:ext cx="4025899" cy="361831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035846"/>
            <a:ext cx="4025899" cy="3618311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9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4502" y="4929188"/>
            <a:ext cx="2573227" cy="1962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defTabSz="685800">
              <a:defRPr/>
            </a:pP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675" dirty="0" smtClean="0">
                <a:solidFill>
                  <a:srgbClr val="7F7F7F"/>
                </a:solidFill>
                <a:cs typeface="Arial" pitchFamily="34" charset="0"/>
              </a:rPr>
              <a:t>2013 </a:t>
            </a: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57994" y="871538"/>
            <a:ext cx="8686006" cy="0"/>
          </a:xfrm>
          <a:prstGeom prst="line">
            <a:avLst/>
          </a:prstGeom>
          <a:ln w="12700">
            <a:solidFill>
              <a:srgbClr val="0022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BBEE"/>
                </a:solidFill>
              </a:defRPr>
            </a:lvl1pPr>
          </a:lstStyle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8144698" y="4922205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685800"/>
            <a:fld id="{597A8DCA-8F96-49CD-B4D5-7AC92F955860}" type="slidenum">
              <a:rPr lang="en-CA" sz="675" smtClean="0">
                <a:solidFill>
                  <a:srgbClr val="7F7F7F"/>
                </a:solidFill>
                <a:cs typeface="Arial" pitchFamily="34" charset="0"/>
              </a:rPr>
              <a:pPr algn="r" defTabSz="685800"/>
              <a:t>‹#›</a:t>
            </a:fld>
            <a:endParaRPr lang="en-CA" sz="675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387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ara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035846"/>
            <a:ext cx="4025898" cy="3618311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defRPr sz="1500" b="1">
                <a:solidFill>
                  <a:srgbClr val="002266"/>
                </a:solidFill>
              </a:defRPr>
            </a:lvl1pPr>
            <a:lvl2pPr marL="173831" indent="-173831">
              <a:buFont typeface="Arial" pitchFamily="34" charset="0"/>
              <a:buChar char="•"/>
              <a:defRPr sz="1500"/>
            </a:lvl2pPr>
            <a:lvl3pPr marL="342900" indent="-173831">
              <a:buFont typeface="Arial" pitchFamily="34" charset="0"/>
              <a:buChar char="–"/>
              <a:defRPr sz="1350"/>
            </a:lvl3pPr>
            <a:lvl4pPr marL="516731" indent="-169069">
              <a:buFont typeface="Arial" pitchFamily="34" charset="0"/>
              <a:buChar char="•"/>
              <a:defRPr sz="1200"/>
            </a:lvl4pPr>
            <a:lvl5pPr marL="685800" indent="-169069">
              <a:buFont typeface="Arial" pitchFamily="34" charset="0"/>
              <a:buChar char="–"/>
              <a:tabLst/>
              <a:defRPr sz="105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035846"/>
            <a:ext cx="4025898" cy="3618311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defRPr sz="1500" b="1">
                <a:solidFill>
                  <a:srgbClr val="002266"/>
                </a:solidFill>
              </a:defRPr>
            </a:lvl1pPr>
            <a:lvl2pPr marL="173831" indent="-173831">
              <a:buFont typeface="Arial" pitchFamily="34" charset="0"/>
              <a:buChar char="•"/>
              <a:defRPr sz="1500"/>
            </a:lvl2pPr>
            <a:lvl3pPr marL="342900" indent="-173831">
              <a:buFont typeface="Arial" pitchFamily="34" charset="0"/>
              <a:buChar char="–"/>
              <a:defRPr sz="1350"/>
            </a:lvl3pPr>
            <a:lvl4pPr marL="516731" indent="-169069">
              <a:buFont typeface="Arial" pitchFamily="34" charset="0"/>
              <a:buChar char="•"/>
              <a:defRPr sz="1200"/>
            </a:lvl4pPr>
            <a:lvl5pPr marL="685800" indent="-169069">
              <a:buFont typeface="Arial" pitchFamily="34" charset="0"/>
              <a:buChar char="–"/>
              <a:tabLst/>
              <a:defRPr sz="105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4502" y="4929188"/>
            <a:ext cx="2573227" cy="1962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defTabSz="685800">
              <a:defRPr/>
            </a:pP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675" dirty="0" smtClean="0">
                <a:solidFill>
                  <a:srgbClr val="7F7F7F"/>
                </a:solidFill>
                <a:cs typeface="Arial" pitchFamily="34" charset="0"/>
              </a:rPr>
              <a:t>2013 </a:t>
            </a: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57994" y="871538"/>
            <a:ext cx="8686006" cy="0"/>
          </a:xfrm>
          <a:prstGeom prst="line">
            <a:avLst/>
          </a:prstGeom>
          <a:ln w="12700">
            <a:solidFill>
              <a:srgbClr val="0022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BBEE"/>
                </a:solidFill>
              </a:defRPr>
            </a:lvl1pPr>
          </a:lstStyle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/>
        </p:nvSpPr>
        <p:spPr>
          <a:xfrm>
            <a:off x="8144698" y="4922205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685800"/>
            <a:fld id="{597A8DCA-8F96-49CD-B4D5-7AC92F955860}" type="slidenum">
              <a:rPr lang="en-CA" sz="675" smtClean="0">
                <a:solidFill>
                  <a:srgbClr val="7F7F7F"/>
                </a:solidFill>
                <a:cs typeface="Arial" pitchFamily="34" charset="0"/>
              </a:rPr>
              <a:pPr algn="r" defTabSz="685800"/>
              <a:t>‹#›</a:t>
            </a:fld>
            <a:endParaRPr lang="en-CA" sz="675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263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502" y="4929188"/>
            <a:ext cx="2573227" cy="1962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defTabSz="685800">
              <a:defRPr/>
            </a:pP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675" dirty="0" smtClean="0">
                <a:solidFill>
                  <a:srgbClr val="7F7F7F"/>
                </a:solidFill>
                <a:cs typeface="Arial" pitchFamily="34" charset="0"/>
              </a:rPr>
              <a:t>2013 </a:t>
            </a: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994" y="871538"/>
            <a:ext cx="8686006" cy="0"/>
          </a:xfrm>
          <a:prstGeom prst="line">
            <a:avLst/>
          </a:prstGeom>
          <a:ln w="12700">
            <a:solidFill>
              <a:srgbClr val="0022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BBEE"/>
                </a:solidFill>
              </a:defRPr>
            </a:lvl1pPr>
          </a:lstStyle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8144698" y="4922205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685800"/>
            <a:fld id="{597A8DCA-8F96-49CD-B4D5-7AC92F955860}" type="slidenum">
              <a:rPr lang="en-CA" sz="675" smtClean="0">
                <a:solidFill>
                  <a:srgbClr val="7F7F7F"/>
                </a:solidFill>
                <a:cs typeface="Arial" pitchFamily="34" charset="0"/>
              </a:rPr>
              <a:pPr algn="r" defTabSz="685800"/>
              <a:t>‹#›</a:t>
            </a:fld>
            <a:endParaRPr lang="en-CA" sz="675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 bwMode="auto">
          <a:xfrm>
            <a:off x="7010400" y="4824372"/>
            <a:ext cx="2133600" cy="27384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>
              <a:defRPr sz="788"/>
            </a:lvl1pPr>
          </a:lstStyle>
          <a:p>
            <a:pPr defTabSz="685800"/>
            <a:fld id="{B6F15528-21DE-4FAA-801E-634DDDAF4B2B}" type="slidenum">
              <a:rPr lang="en-US" smtClean="0">
                <a:solidFill>
                  <a:prstClr val="black"/>
                </a:solidFill>
              </a:rPr>
              <a:pPr defTabSz="68580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33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4502" y="4929188"/>
            <a:ext cx="2573227" cy="1962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defTabSz="685800">
              <a:defRPr/>
            </a:pP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675" dirty="0" smtClean="0">
                <a:solidFill>
                  <a:srgbClr val="7F7F7F"/>
                </a:solidFill>
                <a:cs typeface="Arial" pitchFamily="34" charset="0"/>
              </a:rPr>
              <a:t>2013 </a:t>
            </a: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144698" y="4922205"/>
            <a:ext cx="536400" cy="183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685800"/>
            <a:fld id="{597A8DCA-8F96-49CD-B4D5-7AC92F955860}" type="slidenum">
              <a:rPr lang="en-CA" sz="675" smtClean="0">
                <a:solidFill>
                  <a:srgbClr val="7F7F7F"/>
                </a:solidFill>
                <a:cs typeface="Arial" pitchFamily="34" charset="0"/>
              </a:rPr>
              <a:pPr algn="r" defTabSz="685800"/>
              <a:t>‹#›</a:t>
            </a:fld>
            <a:endParaRPr lang="en-CA" sz="675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 bwMode="auto">
          <a:xfrm>
            <a:off x="7010400" y="4869657"/>
            <a:ext cx="2133600" cy="27384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>
              <a:defRPr sz="788"/>
            </a:lvl1pPr>
          </a:lstStyle>
          <a:p>
            <a:pPr defTabSz="685800"/>
            <a:fld id="{B6F15528-21DE-4FAA-801E-634DDDAF4B2B}" type="slidenum">
              <a:rPr lang="en-US" smtClean="0">
                <a:solidFill>
                  <a:prstClr val="black"/>
                </a:solidFill>
              </a:rPr>
              <a:pPr defTabSz="68580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479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9144000" cy="5143500"/>
          </a:xfrm>
        </p:spPr>
        <p:txBody>
          <a:bodyPr lIns="4754107" tIns="1919928" rtlCol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126" y="1844817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126" y="2722371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5"/>
          </p:nvPr>
        </p:nvSpPr>
        <p:spPr>
          <a:xfrm>
            <a:off x="365125" y="3492500"/>
            <a:ext cx="4140200" cy="274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914252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663372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365127" y="3221038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967" y="0"/>
            <a:ext cx="1646237" cy="164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126" y="186474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65142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5"/>
          </p:nvPr>
        </p:nvSpPr>
        <p:spPr>
          <a:xfrm>
            <a:off x="365127" y="3492500"/>
            <a:ext cx="8347075" cy="274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914252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211397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5423878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42" y="128906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27643CE-E695-4E7F-9890-275657001D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37542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42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9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475E6E-D70C-4C49-9A22-CF63A73795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098591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2"/>
          <p:cNvSpPr txBox="1">
            <a:spLocks noChangeArrowheads="1"/>
          </p:cNvSpPr>
          <p:nvPr userDrawn="1"/>
        </p:nvSpPr>
        <p:spPr bwMode="auto">
          <a:xfrm>
            <a:off x="5875348" y="4933955"/>
            <a:ext cx="76302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b="1" smtClean="0">
                <a:solidFill>
                  <a:srgbClr val="857968"/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6B50127-7120-443F-AF45-A88C9E8A8F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880512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9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9"/>
            <a:ext cx="9144000" cy="3424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9104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b="0" smtClean="0">
              <a:solidFill>
                <a:srgbClr val="59452A"/>
              </a:solidFill>
            </a:endParaRPr>
          </a:p>
        </p:txBody>
      </p:sp>
      <p:pic>
        <p:nvPicPr>
          <p:cNvPr id="7" name="Picture 22" descr="BMGF_BoxLogo_red_WEBSAFE2.4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9447" y="3072266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7177" y="925840"/>
            <a:ext cx="8146177" cy="507831"/>
          </a:xfrm>
        </p:spPr>
        <p:txBody>
          <a:bodyPr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07019" y="3688161"/>
            <a:ext cx="5036084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78051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65142" y="871727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365142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B8EE120-8696-47EC-9CB7-1AE1CF31E78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718322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2"/>
          <p:cNvSpPr txBox="1">
            <a:spLocks noChangeArrowheads="1"/>
          </p:cNvSpPr>
          <p:nvPr userDrawn="1"/>
        </p:nvSpPr>
        <p:spPr bwMode="auto">
          <a:xfrm>
            <a:off x="5875348" y="4933955"/>
            <a:ext cx="76302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b="1" smtClean="0">
                <a:solidFill>
                  <a:srgbClr val="857968"/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6026" y="1289066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41" y="1289066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526504B-0DDE-4257-8A5A-904C0AEF18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130788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501655"/>
            <a:ext cx="201613" cy="2016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Box 13"/>
          <p:cNvSpPr txBox="1">
            <a:spLocks noChangeArrowheads="1"/>
          </p:cNvSpPr>
          <p:nvPr userDrawn="1"/>
        </p:nvSpPr>
        <p:spPr bwMode="auto">
          <a:xfrm>
            <a:off x="5875348" y="4933955"/>
            <a:ext cx="76302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b="1" smtClean="0">
                <a:solidFill>
                  <a:srgbClr val="857968"/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56026" y="488955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F8CF9-D990-4203-ACD0-443E75E9EC7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443416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01655"/>
            <a:ext cx="201613" cy="2016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Click on the icon to insert a new photo</a:t>
            </a:r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411459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lIns="182850" tIns="1828503" rtlCol="0">
            <a:noAutofit/>
          </a:bodyPr>
          <a:lstStyle>
            <a:lvl1pPr marL="0" indent="0" algn="ctr">
              <a:buFontTx/>
              <a:buNone/>
              <a:defRPr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8499269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3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81" y="1575143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24" y="1575143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2" y="1575143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301" y="1575143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80" y="1575143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96" y="1575143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1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81" y="2674751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24" y="2674751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2" y="2674751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301" y="2674751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80" y="2674751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96" y="2674751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62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81" y="3774362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24" y="3774362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2" y="3774362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301" y="3774362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80" y="3774362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96" y="3774362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84" y="842324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40" y="744284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35" name="Footer Placeholder 4"/>
          <p:cNvSpPr>
            <a:spLocks noGrp="1"/>
          </p:cNvSpPr>
          <p:nvPr>
            <p:ph type="ftr" sz="quarter" idx="4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" name="Slide Number Placeholder 5"/>
          <p:cNvSpPr>
            <a:spLocks noGrp="1"/>
          </p:cNvSpPr>
          <p:nvPr>
            <p:ph type="sldNum" sz="quarter" idx="43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DD7813B-E800-4743-BBA3-667F75EC34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428915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1788238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/>
          </p:nvPr>
        </p:nvSpPr>
        <p:spPr>
          <a:xfrm>
            <a:off x="4624321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/>
          </p:nvPr>
        </p:nvSpPr>
        <p:spPr>
          <a:xfrm>
            <a:off x="7446809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83AD5-C9AF-4435-AF0A-AB4344BB3B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780106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/>
          </p:nvPr>
        </p:nvSpPr>
        <p:spPr>
          <a:xfrm>
            <a:off x="357189" y="3299830"/>
            <a:ext cx="8355012" cy="146426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357189" y="2946461"/>
            <a:ext cx="8355012" cy="3493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5967779" y="1287624"/>
            <a:ext cx="2742652" cy="1563563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3166346" y="1292825"/>
            <a:ext cx="2739888" cy="1558341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33B4676-F9E5-49CD-833C-A3D047A20E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040421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/>
          </p:nvPr>
        </p:nvSpPr>
        <p:spPr>
          <a:xfrm>
            <a:off x="357189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363814" y="1142094"/>
            <a:ext cx="8355012" cy="46804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 rtlCol="0">
            <a:noAutofit/>
          </a:bodyPr>
          <a:lstStyle>
            <a:lvl1pPr marL="0" indent="0" algn="ctr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/>
          </p:nvPr>
        </p:nvSpPr>
        <p:spPr>
          <a:xfrm>
            <a:off x="2510191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/>
          </p:nvPr>
        </p:nvSpPr>
        <p:spPr>
          <a:xfrm>
            <a:off x="4663194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/>
          </p:nvPr>
        </p:nvSpPr>
        <p:spPr>
          <a:xfrm>
            <a:off x="6841681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2BCFC5C-62FB-449F-995E-0C17B445E6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26909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A5B70-7D81-4BD2-870C-2AE865D64C3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3324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817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71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4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5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4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2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3" y="349304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3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987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99002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3951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28906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898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9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10" name="Picture 9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941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7" name="Picture 6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447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2" y="871727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2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8" name="Picture 7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697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1289066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6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209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488955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423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pic>
        <p:nvPicPr>
          <p:cNvPr id="9" name="Picture 8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84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78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8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24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2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30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8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9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8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24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2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30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8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9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8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24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2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301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80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96" y="3774362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84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40" y="74428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61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30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518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28906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pic>
        <p:nvPicPr>
          <p:cNvPr id="7" name="Picture 6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4" y="4874226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404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24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25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56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15384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9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7"/>
            <a:ext cx="9144000" cy="3424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b="0" smtClean="0">
              <a:solidFill>
                <a:srgbClr val="59452A"/>
              </a:solidFill>
            </a:endParaRPr>
          </a:p>
        </p:txBody>
      </p:sp>
      <p:pic>
        <p:nvPicPr>
          <p:cNvPr id="7" name="Picture 22" descr="BMGF_BoxLogo_red_WEBSAFE2.4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9447" y="3072266"/>
            <a:ext cx="2258058" cy="16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59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7134" y="925787"/>
            <a:ext cx="8146177" cy="507831"/>
          </a:xfrm>
        </p:spPr>
        <p:txBody>
          <a:bodyPr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07019" y="3688161"/>
            <a:ext cx="5036084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457436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3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7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8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19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5CA987B0-0F57-45B1-B122-6CB0AF6C10B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88012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3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7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8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73" y="3305501"/>
            <a:ext cx="7771995" cy="1261884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73" y="2180597"/>
            <a:ext cx="7771995" cy="1124913"/>
          </a:xfrm>
        </p:spPr>
        <p:txBody>
          <a:bodyPr anchor="b"/>
          <a:lstStyle>
            <a:lvl1pPr marL="0" indent="0">
              <a:buNone/>
              <a:defRPr sz="2000"/>
            </a:lvl1pPr>
            <a:lvl2pPr marL="461199" indent="0">
              <a:buNone/>
              <a:defRPr sz="1800"/>
            </a:lvl2pPr>
            <a:lvl3pPr marL="922480" indent="0">
              <a:buNone/>
              <a:defRPr sz="1600"/>
            </a:lvl3pPr>
            <a:lvl4pPr marL="1383726" indent="0">
              <a:buNone/>
              <a:defRPr sz="1400"/>
            </a:lvl4pPr>
            <a:lvl5pPr marL="1844968" indent="0">
              <a:buNone/>
              <a:defRPr sz="1400"/>
            </a:lvl5pPr>
            <a:lvl6pPr marL="2306213" indent="0">
              <a:buNone/>
              <a:defRPr sz="1400"/>
            </a:lvl6pPr>
            <a:lvl7pPr marL="2767455" indent="0">
              <a:buNone/>
              <a:defRPr sz="1400"/>
            </a:lvl7pPr>
            <a:lvl8pPr marL="3228697" indent="0">
              <a:buNone/>
              <a:defRPr sz="1400"/>
            </a:lvl8pPr>
            <a:lvl9pPr marL="3689941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44979DBA-A0D7-4B68-8873-DCE6B14F0B24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32768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2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4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6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7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9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79" y="1493014"/>
            <a:ext cx="2117131" cy="93540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804" y="1493014"/>
            <a:ext cx="2117132" cy="93540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20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A01856FB-AA32-4297-BBC0-A4297372AF4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9884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9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6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8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9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20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1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06533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816" y="1151657"/>
            <a:ext cx="403988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1199" indent="0">
              <a:buNone/>
              <a:defRPr sz="2000" b="1"/>
            </a:lvl2pPr>
            <a:lvl3pPr marL="922480" indent="0">
              <a:buNone/>
              <a:defRPr sz="1800" b="1"/>
            </a:lvl3pPr>
            <a:lvl4pPr marL="1383726" indent="0">
              <a:buNone/>
              <a:defRPr sz="1600" b="1"/>
            </a:lvl4pPr>
            <a:lvl5pPr marL="1844968" indent="0">
              <a:buNone/>
              <a:defRPr sz="1600" b="1"/>
            </a:lvl5pPr>
            <a:lvl6pPr marL="2306213" indent="0">
              <a:buNone/>
              <a:defRPr sz="1600" b="1"/>
            </a:lvl6pPr>
            <a:lvl7pPr marL="2767455" indent="0">
              <a:buNone/>
              <a:defRPr sz="1600" b="1"/>
            </a:lvl7pPr>
            <a:lvl8pPr marL="3228697" indent="0">
              <a:buNone/>
              <a:defRPr sz="1600" b="1"/>
            </a:lvl8pPr>
            <a:lvl9pPr marL="368994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816" y="1631489"/>
            <a:ext cx="403988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151657"/>
            <a:ext cx="4041502" cy="479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1199" indent="0">
              <a:buNone/>
              <a:defRPr sz="2000" b="1"/>
            </a:lvl2pPr>
            <a:lvl3pPr marL="922480" indent="0">
              <a:buNone/>
              <a:defRPr sz="1800" b="1"/>
            </a:lvl3pPr>
            <a:lvl4pPr marL="1383726" indent="0">
              <a:buNone/>
              <a:defRPr sz="1600" b="1"/>
            </a:lvl4pPr>
            <a:lvl5pPr marL="1844968" indent="0">
              <a:buNone/>
              <a:defRPr sz="1600" b="1"/>
            </a:lvl5pPr>
            <a:lvl6pPr marL="2306213" indent="0">
              <a:buNone/>
              <a:defRPr sz="1600" b="1"/>
            </a:lvl6pPr>
            <a:lvl7pPr marL="2767455" indent="0">
              <a:buNone/>
              <a:defRPr sz="1600" b="1"/>
            </a:lvl7pPr>
            <a:lvl8pPr marL="3228697" indent="0">
              <a:buNone/>
              <a:defRPr sz="1600" b="1"/>
            </a:lvl8pPr>
            <a:lvl9pPr marL="368994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1631489"/>
            <a:ext cx="4041502" cy="296291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22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AFC7F90D-57A7-43FA-A246-156F22B9D3BB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892017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3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0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2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6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7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18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C715B834-7A06-4EA4-A69A-49E2FE3EA61D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454936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7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5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1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4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5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6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17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98EEDE1A-99E1-4D96-9778-D7F9903793E4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25434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2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4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6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7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9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460808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92" y="205309"/>
            <a:ext cx="5112217" cy="438910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076322"/>
            <a:ext cx="3008044" cy="3518086"/>
          </a:xfrm>
        </p:spPr>
        <p:txBody>
          <a:bodyPr/>
          <a:lstStyle>
            <a:lvl1pPr marL="0" indent="0">
              <a:buNone/>
              <a:defRPr sz="1400"/>
            </a:lvl1pPr>
            <a:lvl2pPr marL="461199" indent="0">
              <a:buNone/>
              <a:defRPr sz="1200"/>
            </a:lvl2pPr>
            <a:lvl3pPr marL="922480" indent="0">
              <a:buNone/>
              <a:defRPr sz="1000"/>
            </a:lvl3pPr>
            <a:lvl4pPr marL="1383726" indent="0">
              <a:buNone/>
              <a:defRPr sz="900"/>
            </a:lvl4pPr>
            <a:lvl5pPr marL="1844968" indent="0">
              <a:buNone/>
              <a:defRPr sz="900"/>
            </a:lvl5pPr>
            <a:lvl6pPr marL="2306213" indent="0">
              <a:buNone/>
              <a:defRPr sz="900"/>
            </a:lvl6pPr>
            <a:lvl7pPr marL="2767455" indent="0">
              <a:buNone/>
              <a:defRPr sz="900"/>
            </a:lvl7pPr>
            <a:lvl8pPr marL="3228697" indent="0">
              <a:buNone/>
              <a:defRPr sz="900"/>
            </a:lvl8pPr>
            <a:lvl9pPr marL="368994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1FA15039-631D-42A4-BEF0-3C5FF5BF5AFA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1213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9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99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5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2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4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6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7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8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9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5" y="3718115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5" y="459203"/>
            <a:ext cx="5486400" cy="3086829"/>
          </a:xfrm>
        </p:spPr>
        <p:txBody>
          <a:bodyPr/>
          <a:lstStyle>
            <a:lvl1pPr marL="0" indent="0">
              <a:buNone/>
              <a:defRPr sz="3300"/>
            </a:lvl1pPr>
            <a:lvl2pPr marL="461199" indent="0">
              <a:buNone/>
              <a:defRPr sz="2900"/>
            </a:lvl2pPr>
            <a:lvl3pPr marL="922480" indent="0">
              <a:buNone/>
              <a:defRPr sz="2400"/>
            </a:lvl3pPr>
            <a:lvl4pPr marL="1383726" indent="0">
              <a:buNone/>
              <a:defRPr sz="2000"/>
            </a:lvl4pPr>
            <a:lvl5pPr marL="1844968" indent="0">
              <a:buNone/>
              <a:defRPr sz="2000"/>
            </a:lvl5pPr>
            <a:lvl6pPr marL="2306213" indent="0">
              <a:buNone/>
              <a:defRPr sz="2000"/>
            </a:lvl6pPr>
            <a:lvl7pPr marL="2767455" indent="0">
              <a:buNone/>
              <a:defRPr sz="2000"/>
            </a:lvl7pPr>
            <a:lvl8pPr marL="3228697" indent="0">
              <a:buNone/>
              <a:defRPr sz="2000"/>
            </a:lvl8pPr>
            <a:lvl9pPr marL="3689941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5" y="4025898"/>
            <a:ext cx="5486400" cy="603761"/>
          </a:xfrm>
        </p:spPr>
        <p:txBody>
          <a:bodyPr/>
          <a:lstStyle>
            <a:lvl1pPr marL="0" indent="0">
              <a:buNone/>
              <a:defRPr sz="1400"/>
            </a:lvl1pPr>
            <a:lvl2pPr marL="461199" indent="0">
              <a:buNone/>
              <a:defRPr sz="1200"/>
            </a:lvl2pPr>
            <a:lvl3pPr marL="922480" indent="0">
              <a:buNone/>
              <a:defRPr sz="1000"/>
            </a:lvl3pPr>
            <a:lvl4pPr marL="1383726" indent="0">
              <a:buNone/>
              <a:defRPr sz="900"/>
            </a:lvl4pPr>
            <a:lvl5pPr marL="1844968" indent="0">
              <a:buNone/>
              <a:defRPr sz="900"/>
            </a:lvl5pPr>
            <a:lvl6pPr marL="2306213" indent="0">
              <a:buNone/>
              <a:defRPr sz="900"/>
            </a:lvl6pPr>
            <a:lvl7pPr marL="2767455" indent="0">
              <a:buNone/>
              <a:defRPr sz="900"/>
            </a:lvl7pPr>
            <a:lvl8pPr marL="3228697" indent="0">
              <a:buNone/>
              <a:defRPr sz="900"/>
            </a:lvl8pPr>
            <a:lvl9pPr marL="368994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C698DA97-873A-4B20-99AE-B5D7A1BF2D80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27772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9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3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7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8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19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0E6C038E-5ECC-4100-B22D-5E09E46CC21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310982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3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Rectangle 1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/>
          <p:cNvGrpSpPr>
            <a:grpSpLocks/>
          </p:cNvGrpSpPr>
          <p:nvPr userDrawn="1"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1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13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6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17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18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0967" y="176251"/>
            <a:ext cx="584775" cy="225225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176251"/>
            <a:ext cx="6440486" cy="22522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19" name="Rectangle 14"/>
          <p:cNvSpPr>
            <a:spLocks noGrp="1" noChangeArrowheads="1"/>
          </p:cNvSpPr>
          <p:nvPr>
            <p:ph type="sldNum" sz="quarter" idx="10"/>
            <p:custDataLst>
              <p:tags r:id="rId12"/>
            </p:custDataLst>
          </p:nvPr>
        </p:nvSpPr>
        <p:spPr/>
        <p:txBody>
          <a:bodyPr/>
          <a:lstStyle>
            <a:lvl1pPr defTabSz="925713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709D92FC-D069-4504-BF87-2DF7C62926E1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39028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97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5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2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94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2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2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3" y="349302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3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95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6711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1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02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9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1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09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19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2" y="871724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1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1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25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4061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1289066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6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1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84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41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74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3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5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15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2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9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4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91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5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15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2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9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4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91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6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56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15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2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90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40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91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73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15" y="74428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610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596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08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25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1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47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1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16422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96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5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0" y="349302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31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2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0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3" y="349302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3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70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2" y="871727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2" y="1462096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  <p:pic>
        <p:nvPicPr>
          <p:cNvPr id="8" name="Picture 7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4" y="4874226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167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732979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0" y="1289063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0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10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0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6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0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2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19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40" y="871724"/>
            <a:ext cx="8329613" cy="450099"/>
          </a:xfrm>
        </p:spPr>
        <p:txBody>
          <a:bodyPr/>
          <a:lstStyle>
            <a:lvl1pPr marL="0" indent="0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Insert sub-headline or explanatory copy here – up to 2 full-width lines.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40" y="1462095"/>
            <a:ext cx="8329613" cy="3216275"/>
          </a:xfrm>
        </p:spPr>
        <p:txBody>
          <a:bodyPr tIns="1097102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 smtClean="0"/>
              <a:t>Click icon to insert visual element here at full-width of slide.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40" y="472180"/>
            <a:ext cx="8329613" cy="381930"/>
          </a:xfrm>
        </p:spPr>
        <p:txBody>
          <a:bodyPr/>
          <a:lstStyle/>
          <a:p>
            <a:r>
              <a:rPr lang="en-US" smtClean="0"/>
              <a:t>insert headline here – up to 1 full-width 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93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1289063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3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0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59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10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8" y="0"/>
            <a:ext cx="5487987" cy="5143500"/>
          </a:xfrm>
        </p:spPr>
        <p:txBody>
          <a:bodyPr tIns="822826"/>
          <a:lstStyle>
            <a:lvl1pPr marL="0" indent="0" algn="ctr">
              <a:buNone/>
              <a:defRPr baseline="0"/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ick on the icon to insert a new photo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963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50" tIns="1828503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 smtClean="0"/>
              <a:t>Click on the icon to insert </a:t>
            </a:r>
            <a:br>
              <a:rPr lang="en-US" dirty="0" smtClean="0"/>
            </a:br>
            <a:r>
              <a:rPr lang="en-US" dirty="0" smtClean="0"/>
              <a:t>a new full-frame phot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51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203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56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513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60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headshot slide (max of 21)</a:t>
            </a:r>
            <a:endParaRPr lang="en-US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88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38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89" y="1575143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203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56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513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60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88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38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89" y="267475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203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56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513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60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88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38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89" y="377435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1725561" y="842324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5927915" y="744281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22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1289066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66"/>
            <a:ext cx="3170237" cy="3389313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defRPr sz="1400" b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3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0842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27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9"/>
            <a:ext cx="1371600" cy="1371600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First Last</a:t>
            </a:r>
          </a:p>
          <a:p>
            <a:pPr lvl="1"/>
            <a:r>
              <a:rPr lang="en-US" smtClean="0"/>
              <a:t>Title of individual </a:t>
            </a:r>
            <a:br>
              <a:rPr lang="en-US" smtClean="0"/>
            </a:br>
            <a:r>
              <a:rPr lang="en-US" smtClean="0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33" y="472180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headshot slide (max of 6) – speaker or team layou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80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299830"/>
            <a:ext cx="8355012" cy="146426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9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607"/>
            <a:ext cx="2742652" cy="1563563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6" y="1292822"/>
            <a:ext cx="2739888" cy="1558341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24" y="1290435"/>
            <a:ext cx="2740475" cy="1560716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0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48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9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>
                <a:tab pos="399985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4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9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201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0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24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 smtClean="0"/>
              <a:t>Click icon to </a:t>
            </a:r>
            <a:br>
              <a:rPr lang="en-US" dirty="0" smtClean="0"/>
            </a:br>
            <a:r>
              <a:rPr lang="en-US" dirty="0" smtClean="0"/>
              <a:t>insert a photo</a:t>
            </a:r>
            <a:endParaRPr lang="en-US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22" indent="-171422">
              <a:spcBef>
                <a:spcPts val="0"/>
              </a:spcBef>
              <a:buFont typeface="Wingdings" panose="05000000000000000000" pitchFamily="2" charset="2"/>
              <a:buChar char="§"/>
              <a:defRPr sz="1000" baseline="0"/>
            </a:lvl2pPr>
            <a:lvl3pPr marL="341257" indent="-171422"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Key word</a:t>
            </a:r>
          </a:p>
          <a:p>
            <a:pPr lvl="1"/>
            <a:r>
              <a:rPr lang="en-US" smtClean="0"/>
              <a:t>Insert descriptive text here</a:t>
            </a:r>
          </a:p>
          <a:p>
            <a:pPr lvl="2"/>
            <a:r>
              <a:rPr lang="en-US" smtClean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98690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40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25A04D-043D-4C34-A029-58F35599C18F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96731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645FDE-53F0-4CF4-A503-B9FC6ECF274D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4103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6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53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376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22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06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91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275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5213B2-B300-47DC-8F04-CC0FE2A35AD4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0187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D35130-CB3C-46D5-80CE-DA887D0BE78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158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13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44" indent="0">
              <a:buNone/>
              <a:defRPr sz="1500" b="1"/>
            </a:lvl2pPr>
            <a:lvl3pPr marL="685688" indent="0">
              <a:buNone/>
              <a:defRPr sz="1400" b="1"/>
            </a:lvl3pPr>
            <a:lvl4pPr marL="1028533" indent="0">
              <a:buNone/>
              <a:defRPr sz="1200" b="1"/>
            </a:lvl4pPr>
            <a:lvl5pPr marL="1371376" indent="0">
              <a:buNone/>
              <a:defRPr sz="1200" b="1"/>
            </a:lvl5pPr>
            <a:lvl6pPr marL="1714222" indent="0">
              <a:buNone/>
              <a:defRPr sz="1200" b="1"/>
            </a:lvl6pPr>
            <a:lvl7pPr marL="2057065" indent="0">
              <a:buNone/>
              <a:defRPr sz="1200" b="1"/>
            </a:lvl7pPr>
            <a:lvl8pPr marL="2399910" indent="0">
              <a:buNone/>
              <a:defRPr sz="1200" b="1"/>
            </a:lvl8pPr>
            <a:lvl9pPr marL="274275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13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44" indent="0">
              <a:buNone/>
              <a:defRPr sz="1500" b="1"/>
            </a:lvl2pPr>
            <a:lvl3pPr marL="685688" indent="0">
              <a:buNone/>
              <a:defRPr sz="1400" b="1"/>
            </a:lvl3pPr>
            <a:lvl4pPr marL="1028533" indent="0">
              <a:buNone/>
              <a:defRPr sz="1200" b="1"/>
            </a:lvl4pPr>
            <a:lvl5pPr marL="1371376" indent="0">
              <a:buNone/>
              <a:defRPr sz="1200" b="1"/>
            </a:lvl5pPr>
            <a:lvl6pPr marL="1714222" indent="0">
              <a:buNone/>
              <a:defRPr sz="1200" b="1"/>
            </a:lvl6pPr>
            <a:lvl7pPr marL="2057065" indent="0">
              <a:buNone/>
              <a:defRPr sz="1200" b="1"/>
            </a:lvl7pPr>
            <a:lvl8pPr marL="2399910" indent="0">
              <a:buNone/>
              <a:defRPr sz="1200" b="1"/>
            </a:lvl8pPr>
            <a:lvl9pPr marL="274275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DD3B56-9568-4A90-83E0-11A3BDAE0C90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7504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81DA617-F1C0-495E-A2C0-45A9DCC9D6EB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2403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AB12C4-0334-4653-B421-A462E72E67CF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05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1" y="1289052"/>
            <a:ext cx="3170237" cy="3389314"/>
          </a:xfrm>
        </p:spPr>
        <p:txBody>
          <a:bodyPr/>
          <a:lstStyle>
            <a:lvl1pPr>
              <a:spcBef>
                <a:spcPts val="336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336"/>
              </a:spcBef>
              <a:spcAft>
                <a:spcPts val="0"/>
              </a:spcAft>
              <a:defRPr sz="1300" baseline="0"/>
            </a:lvl2pPr>
            <a:lvl3pPr>
              <a:spcBef>
                <a:spcPts val="336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853" indent="-171422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688" indent="-171422">
              <a:spcBef>
                <a:spcPts val="336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 smtClean="0"/>
              <a:t>Insert bullet list at 1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headline -  TWO LINES all caps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26" y="488955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an icon to insert a visual here at 2/3 width of slide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606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8" y="204788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80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8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44" indent="0">
              <a:buNone/>
              <a:defRPr sz="900"/>
            </a:lvl2pPr>
            <a:lvl3pPr marL="685688" indent="0">
              <a:buNone/>
              <a:defRPr sz="800"/>
            </a:lvl3pPr>
            <a:lvl4pPr marL="1028533" indent="0">
              <a:buNone/>
              <a:defRPr sz="700"/>
            </a:lvl4pPr>
            <a:lvl5pPr marL="1371376" indent="0">
              <a:buNone/>
              <a:defRPr sz="700"/>
            </a:lvl5pPr>
            <a:lvl6pPr marL="1714222" indent="0">
              <a:buNone/>
              <a:defRPr sz="700"/>
            </a:lvl6pPr>
            <a:lvl7pPr marL="2057065" indent="0">
              <a:buNone/>
              <a:defRPr sz="700"/>
            </a:lvl7pPr>
            <a:lvl8pPr marL="2399910" indent="0">
              <a:buNone/>
              <a:defRPr sz="700"/>
            </a:lvl8pPr>
            <a:lvl9pPr marL="2742754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E47B22-1156-4762-992E-689B4693BBBC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1150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44" indent="0">
              <a:buNone/>
              <a:defRPr sz="2100"/>
            </a:lvl2pPr>
            <a:lvl3pPr marL="685688" indent="0">
              <a:buNone/>
              <a:defRPr sz="1800"/>
            </a:lvl3pPr>
            <a:lvl4pPr marL="1028533" indent="0">
              <a:buNone/>
              <a:defRPr sz="1500"/>
            </a:lvl4pPr>
            <a:lvl5pPr marL="1371376" indent="0">
              <a:buNone/>
              <a:defRPr sz="1500"/>
            </a:lvl5pPr>
            <a:lvl6pPr marL="1714222" indent="0">
              <a:buNone/>
              <a:defRPr sz="1500"/>
            </a:lvl6pPr>
            <a:lvl7pPr marL="2057065" indent="0">
              <a:buNone/>
              <a:defRPr sz="1500"/>
            </a:lvl7pPr>
            <a:lvl8pPr marL="2399910" indent="0">
              <a:buNone/>
              <a:defRPr sz="1500"/>
            </a:lvl8pPr>
            <a:lvl9pPr marL="2742754" indent="0">
              <a:buNone/>
              <a:defRPr sz="15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10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44" indent="0">
              <a:buNone/>
              <a:defRPr sz="900"/>
            </a:lvl2pPr>
            <a:lvl3pPr marL="685688" indent="0">
              <a:buNone/>
              <a:defRPr sz="800"/>
            </a:lvl3pPr>
            <a:lvl4pPr marL="1028533" indent="0">
              <a:buNone/>
              <a:defRPr sz="700"/>
            </a:lvl4pPr>
            <a:lvl5pPr marL="1371376" indent="0">
              <a:buNone/>
              <a:defRPr sz="700"/>
            </a:lvl5pPr>
            <a:lvl6pPr marL="1714222" indent="0">
              <a:buNone/>
              <a:defRPr sz="700"/>
            </a:lvl6pPr>
            <a:lvl7pPr marL="2057065" indent="0">
              <a:buNone/>
              <a:defRPr sz="700"/>
            </a:lvl7pPr>
            <a:lvl8pPr marL="2399910" indent="0">
              <a:buNone/>
              <a:defRPr sz="700"/>
            </a:lvl8pPr>
            <a:lvl9pPr marL="2742754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099E3E5-725B-4EBA-8D00-F2CAFBB38A2A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9854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6D932F-9374-4AD9-9201-76A5D617C45E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51027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B20C21-38C5-469A-A6BC-683F0A17A10D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6840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107" tIns="1919928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on the icon to insert a </a:t>
            </a:r>
            <a:br>
              <a:rPr lang="en-US" dirty="0" smtClean="0"/>
            </a:br>
            <a:r>
              <a:rPr lang="en-US" dirty="0" smtClean="0"/>
              <a:t>new photo. Detailed instructions </a:t>
            </a:r>
            <a:br>
              <a:rPr lang="en-US" dirty="0" smtClean="0"/>
            </a:br>
            <a:r>
              <a:rPr lang="en-US" dirty="0" smtClean="0"/>
              <a:t>can be found on the slide titled</a:t>
            </a:r>
            <a:br>
              <a:rPr lang="en-US" dirty="0" smtClean="0"/>
            </a:br>
            <a:r>
              <a:rPr lang="en-US" dirty="0" smtClean="0"/>
              <a:t>“CHANGING THE PHOTO ON </a:t>
            </a:r>
            <a:br>
              <a:rPr lang="en-US" dirty="0" smtClean="0"/>
            </a:br>
            <a:r>
              <a:rPr lang="en-US" dirty="0" smtClean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817"/>
            <a:ext cx="4140200" cy="847549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71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4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44" y="349304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0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4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33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42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Presenter Name 1</a:t>
            </a:r>
          </a:p>
          <a:p>
            <a:pPr lvl="2"/>
            <a:r>
              <a:rPr lang="en-US" smtClean="0"/>
              <a:t>Presenter Name 2</a:t>
            </a:r>
          </a:p>
          <a:p>
            <a:pPr lvl="4"/>
            <a:r>
              <a:rPr lang="en-US" smtClean="0"/>
              <a:t>Presenter Name 3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33" y="349304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33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445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01" tIns="685688" rIns="365701" bIns="1828503"/>
          <a:lstStyle>
            <a:lvl1pPr marL="0" indent="0">
              <a:lnSpc>
                <a:spcPts val="3400"/>
              </a:lnSpc>
              <a:spcBef>
                <a:spcPts val="600"/>
              </a:spcBef>
              <a:buNone/>
              <a:defRPr lang="en-US" sz="300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9385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289066"/>
            <a:ext cx="8329613" cy="3389313"/>
          </a:xfrm>
        </p:spPr>
        <p:txBody>
          <a:bodyPr/>
          <a:lstStyle>
            <a:lvl1pPr>
              <a:spcBef>
                <a:spcPts val="336"/>
              </a:spcBef>
              <a:defRPr sz="1400" b="0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08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42" y="1139721"/>
            <a:ext cx="8329613" cy="29866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defRPr sz="1400" b="1" baseline="0"/>
            </a:lvl1pPr>
            <a:lvl2pPr marL="171422" indent="-171422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44" indent="-171422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854" indent="-173010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276" indent="-171422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 smtClean="0"/>
              <a:t>Insert bullet list at full-width </a:t>
            </a:r>
            <a:r>
              <a:rPr lang="en-US" smtClean="0"/>
              <a:t>of slide</a:t>
            </a:r>
            <a:endParaRPr lang="en-US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33" y="1528739"/>
            <a:ext cx="8347075" cy="3166203"/>
          </a:xfrm>
        </p:spPr>
        <p:txBody>
          <a:bodyPr/>
          <a:lstStyle>
            <a:lvl1pPr>
              <a:spcBef>
                <a:spcPts val="336"/>
              </a:spcBef>
              <a:defRPr sz="1300"/>
            </a:lvl1pPr>
            <a:lvl2pPr>
              <a:spcBef>
                <a:spcPts val="336"/>
              </a:spcBef>
              <a:defRPr sz="1300"/>
            </a:lvl2pPr>
            <a:lvl3pPr>
              <a:spcBef>
                <a:spcPts val="336"/>
              </a:spcBef>
              <a:defRPr sz="1200"/>
            </a:lvl3pPr>
            <a:lvl4pPr>
              <a:spcBef>
                <a:spcPts val="336"/>
              </a:spcBef>
              <a:defRPr sz="1100"/>
            </a:lvl4pPr>
            <a:lvl5pPr>
              <a:spcBef>
                <a:spcPts val="336"/>
              </a:spcBef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42" y="472187"/>
            <a:ext cx="8329613" cy="523183"/>
          </a:xfrm>
        </p:spPr>
        <p:txBody>
          <a:bodyPr/>
          <a:lstStyle/>
          <a:p>
            <a:r>
              <a:rPr lang="en-US" smtClean="0"/>
              <a:t>insert headline here – up to 2 full width lines (all caps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342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bullet list at 2/3 width of slide</a:t>
            </a:r>
          </a:p>
          <a:p>
            <a:pPr lvl="1"/>
            <a:r>
              <a:rPr lang="en-US" dirty="0" smtClean="0"/>
              <a:t>Bullet list level two</a:t>
            </a:r>
          </a:p>
          <a:p>
            <a:pPr lvl="2"/>
            <a:r>
              <a:rPr lang="en-US" dirty="0" smtClean="0"/>
              <a:t>Bullet list level three</a:t>
            </a:r>
          </a:p>
          <a:p>
            <a:pPr lvl="3"/>
            <a:r>
              <a:rPr lang="en-US" dirty="0" smtClean="0"/>
              <a:t>Bullet list level four</a:t>
            </a:r>
          </a:p>
          <a:p>
            <a:pPr lvl="4"/>
            <a:r>
              <a:rPr lang="en-US" dirty="0" smtClean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41" y="473932"/>
            <a:ext cx="3170237" cy="646646"/>
          </a:xfrm>
          <a:prstGeom prst="rect">
            <a:avLst/>
          </a:prstGeom>
        </p:spPr>
        <p:txBody>
          <a:bodyPr anchor="t"/>
          <a:lstStyle/>
          <a:p>
            <a:r>
              <a:rPr lang="en-US" smtClean="0"/>
              <a:t>INSERT headline -  TWO LINES all caps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875766" y="4934551"/>
            <a:ext cx="7630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 smtClean="0">
                <a:solidFill>
                  <a:srgbClr val="AAA09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3590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" Type="http://schemas.openxmlformats.org/officeDocument/2006/relationships/slideLayout" Target="../slideLayouts/slideLayout111.xml"/><Relationship Id="rId21" Type="http://schemas.openxmlformats.org/officeDocument/2006/relationships/tags" Target="../tags/tag152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2" Type="http://schemas.openxmlformats.org/officeDocument/2006/relationships/slideLayout" Target="../slideLayouts/slideLayout110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tags" Target="../tags/tag155.xml"/><Relationship Id="rId5" Type="http://schemas.openxmlformats.org/officeDocument/2006/relationships/slideLayout" Target="../slideLayouts/slideLayout113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oleObject" Target="../embeddings/oleObject15.bin"/><Relationship Id="rId10" Type="http://schemas.openxmlformats.org/officeDocument/2006/relationships/slideLayout" Target="../slideLayouts/slideLayout118.xml"/><Relationship Id="rId19" Type="http://schemas.openxmlformats.org/officeDocument/2006/relationships/tags" Target="../tags/tag150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vmlDrawing" Target="../drawings/vmlDrawing15.v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image" Target="../media/image6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tags" Target="../tags/tag175.xml"/><Relationship Id="rId26" Type="http://schemas.openxmlformats.org/officeDocument/2006/relationships/tags" Target="../tags/tag183.xml"/><Relationship Id="rId3" Type="http://schemas.openxmlformats.org/officeDocument/2006/relationships/slideLayout" Target="../slideLayouts/slideLayout123.xml"/><Relationship Id="rId21" Type="http://schemas.openxmlformats.org/officeDocument/2006/relationships/tags" Target="../tags/tag178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tags" Target="../tags/tag174.xml"/><Relationship Id="rId25" Type="http://schemas.openxmlformats.org/officeDocument/2006/relationships/tags" Target="../tags/tag182.xml"/><Relationship Id="rId2" Type="http://schemas.openxmlformats.org/officeDocument/2006/relationships/slideLayout" Target="../slideLayouts/slideLayout122.xml"/><Relationship Id="rId16" Type="http://schemas.openxmlformats.org/officeDocument/2006/relationships/tags" Target="../tags/tag173.xml"/><Relationship Id="rId20" Type="http://schemas.openxmlformats.org/officeDocument/2006/relationships/tags" Target="../tags/tag177.xml"/><Relationship Id="rId29" Type="http://schemas.openxmlformats.org/officeDocument/2006/relationships/oleObject" Target="../embeddings/oleObject17.bin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tags" Target="../tags/tag181.xml"/><Relationship Id="rId5" Type="http://schemas.openxmlformats.org/officeDocument/2006/relationships/slideLayout" Target="../slideLayouts/slideLayout125.xml"/><Relationship Id="rId15" Type="http://schemas.openxmlformats.org/officeDocument/2006/relationships/vmlDrawing" Target="../drawings/vmlDrawing17.vml"/><Relationship Id="rId23" Type="http://schemas.openxmlformats.org/officeDocument/2006/relationships/tags" Target="../tags/tag180.xml"/><Relationship Id="rId28" Type="http://schemas.openxmlformats.org/officeDocument/2006/relationships/tags" Target="../tags/tag185.xml"/><Relationship Id="rId10" Type="http://schemas.openxmlformats.org/officeDocument/2006/relationships/slideLayout" Target="../slideLayouts/slideLayout130.xml"/><Relationship Id="rId19" Type="http://schemas.openxmlformats.org/officeDocument/2006/relationships/tags" Target="../tags/tag176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theme" Target="../theme/theme11.xml"/><Relationship Id="rId22" Type="http://schemas.openxmlformats.org/officeDocument/2006/relationships/tags" Target="../tags/tag179.xml"/><Relationship Id="rId27" Type="http://schemas.openxmlformats.org/officeDocument/2006/relationships/tags" Target="../tags/tag184.xml"/><Relationship Id="rId30" Type="http://schemas.openxmlformats.org/officeDocument/2006/relationships/image" Target="../media/image5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theme" Target="../theme/theme12.xml"/><Relationship Id="rId18" Type="http://schemas.openxmlformats.org/officeDocument/2006/relationships/tags" Target="../tags/tag203.xml"/><Relationship Id="rId26" Type="http://schemas.openxmlformats.org/officeDocument/2006/relationships/tags" Target="../tags/tag211.xml"/><Relationship Id="rId3" Type="http://schemas.openxmlformats.org/officeDocument/2006/relationships/slideLayout" Target="../slideLayouts/slideLayout136.xml"/><Relationship Id="rId21" Type="http://schemas.openxmlformats.org/officeDocument/2006/relationships/tags" Target="../tags/tag20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tags" Target="../tags/tag202.xml"/><Relationship Id="rId25" Type="http://schemas.openxmlformats.org/officeDocument/2006/relationships/tags" Target="../tags/tag210.xml"/><Relationship Id="rId2" Type="http://schemas.openxmlformats.org/officeDocument/2006/relationships/slideLayout" Target="../slideLayouts/slideLayout135.xml"/><Relationship Id="rId16" Type="http://schemas.openxmlformats.org/officeDocument/2006/relationships/tags" Target="../tags/tag201.xml"/><Relationship Id="rId20" Type="http://schemas.openxmlformats.org/officeDocument/2006/relationships/tags" Target="../tags/tag205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tags" Target="../tags/tag209.xml"/><Relationship Id="rId5" Type="http://schemas.openxmlformats.org/officeDocument/2006/relationships/slideLayout" Target="../slideLayouts/slideLayout138.xml"/><Relationship Id="rId15" Type="http://schemas.openxmlformats.org/officeDocument/2006/relationships/tags" Target="../tags/tag200.xml"/><Relationship Id="rId23" Type="http://schemas.openxmlformats.org/officeDocument/2006/relationships/tags" Target="../tags/tag208.xml"/><Relationship Id="rId28" Type="http://schemas.openxmlformats.org/officeDocument/2006/relationships/oleObject" Target="../embeddings/oleObject19.bin"/><Relationship Id="rId10" Type="http://schemas.openxmlformats.org/officeDocument/2006/relationships/slideLayout" Target="../slideLayouts/slideLayout143.xml"/><Relationship Id="rId19" Type="http://schemas.openxmlformats.org/officeDocument/2006/relationships/tags" Target="../tags/tag204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vmlDrawing" Target="../drawings/vmlDrawing19.vml"/><Relationship Id="rId22" Type="http://schemas.openxmlformats.org/officeDocument/2006/relationships/tags" Target="../tags/tag207.xml"/><Relationship Id="rId27" Type="http://schemas.openxmlformats.org/officeDocument/2006/relationships/tags" Target="../tags/tag212.xml"/><Relationship Id="rId30" Type="http://schemas.openxmlformats.org/officeDocument/2006/relationships/image" Target="../media/image6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18" Type="http://schemas.openxmlformats.org/officeDocument/2006/relationships/tags" Target="../tags/tag229.xml"/><Relationship Id="rId26" Type="http://schemas.openxmlformats.org/officeDocument/2006/relationships/tags" Target="../tags/tag237.xml"/><Relationship Id="rId3" Type="http://schemas.openxmlformats.org/officeDocument/2006/relationships/slideLayout" Target="../slideLayouts/slideLayout148.xml"/><Relationship Id="rId21" Type="http://schemas.openxmlformats.org/officeDocument/2006/relationships/tags" Target="../tags/tag232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tags" Target="../tags/tag228.xml"/><Relationship Id="rId25" Type="http://schemas.openxmlformats.org/officeDocument/2006/relationships/tags" Target="../tags/tag236.xml"/><Relationship Id="rId2" Type="http://schemas.openxmlformats.org/officeDocument/2006/relationships/slideLayout" Target="../slideLayouts/slideLayout147.xml"/><Relationship Id="rId16" Type="http://schemas.openxmlformats.org/officeDocument/2006/relationships/tags" Target="../tags/tag227.xml"/><Relationship Id="rId20" Type="http://schemas.openxmlformats.org/officeDocument/2006/relationships/tags" Target="../tags/tag231.xml"/><Relationship Id="rId29" Type="http://schemas.openxmlformats.org/officeDocument/2006/relationships/oleObject" Target="../embeddings/oleObject21.bin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tags" Target="../tags/tag235.xml"/><Relationship Id="rId5" Type="http://schemas.openxmlformats.org/officeDocument/2006/relationships/slideLayout" Target="../slideLayouts/slideLayout150.xml"/><Relationship Id="rId15" Type="http://schemas.openxmlformats.org/officeDocument/2006/relationships/vmlDrawing" Target="../drawings/vmlDrawing21.vml"/><Relationship Id="rId23" Type="http://schemas.openxmlformats.org/officeDocument/2006/relationships/tags" Target="../tags/tag234.xml"/><Relationship Id="rId28" Type="http://schemas.openxmlformats.org/officeDocument/2006/relationships/tags" Target="../tags/tag239.xml"/><Relationship Id="rId10" Type="http://schemas.openxmlformats.org/officeDocument/2006/relationships/slideLayout" Target="../slideLayouts/slideLayout155.xml"/><Relationship Id="rId19" Type="http://schemas.openxmlformats.org/officeDocument/2006/relationships/tags" Target="../tags/tag230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theme" Target="../theme/theme13.xml"/><Relationship Id="rId22" Type="http://schemas.openxmlformats.org/officeDocument/2006/relationships/tags" Target="../tags/tag233.xml"/><Relationship Id="rId27" Type="http://schemas.openxmlformats.org/officeDocument/2006/relationships/tags" Target="../tags/tag238.xml"/><Relationship Id="rId30" Type="http://schemas.openxmlformats.org/officeDocument/2006/relationships/image" Target="../media/image5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60.xml"/><Relationship Id="rId16" Type="http://schemas.openxmlformats.org/officeDocument/2006/relationships/theme" Target="../theme/theme14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6" Type="http://schemas.openxmlformats.org/officeDocument/2006/relationships/theme" Target="../theme/theme1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0.xml"/><Relationship Id="rId16" Type="http://schemas.openxmlformats.org/officeDocument/2006/relationships/theme" Target="../theme/theme16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slideLayout" Target="../slideLayouts/slideLayout20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40.xml"/><Relationship Id="rId7" Type="http://schemas.openxmlformats.org/officeDocument/2006/relationships/theme" Target="../theme/theme20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4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6.xml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2" Type="http://schemas.openxmlformats.org/officeDocument/2006/relationships/slideLayout" Target="../slideLayouts/slideLayout245.xml"/><Relationship Id="rId16" Type="http://schemas.openxmlformats.org/officeDocument/2006/relationships/theme" Target="../theme/theme21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oleObject" Target="../embeddings/oleObject1.bin"/><Relationship Id="rId3" Type="http://schemas.openxmlformats.org/officeDocument/2006/relationships/theme" Target="../theme/theme3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2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image" Target="../media/image5.emf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26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5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ags" Target="../tags/tag29.x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image" Target="../media/image5.emf"/><Relationship Id="rId10" Type="http://schemas.openxmlformats.org/officeDocument/2006/relationships/slideLayout" Target="../slideLayouts/slideLayout51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26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7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42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41" y="472180"/>
            <a:ext cx="3170237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775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47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2" r:id="rId11"/>
    <p:sldLayoutId id="2147483824" r:id="rId12"/>
    <p:sldLayoutId id="2147483825" r:id="rId13"/>
    <p:sldLayoutId id="2147483843" r:id="rId14"/>
    <p:sldLayoutId id="2147483844" r:id="rId15"/>
    <p:sldLayoutId id="2147484136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78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Rectangle 12"/>
          <p:cNvPicPr>
            <a:picLocks noChangeArrowheads="1"/>
          </p:cNvPicPr>
          <p:nvPr>
            <p:custDataLst>
              <p:tags r:id="rId16"/>
            </p:custDataLst>
          </p:nvPr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669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22440" y="176168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SlideLogoText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35051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00587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22207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6237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9575" name="McK 3. Unit of measur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056" name="McK Slide Elements"/>
          <p:cNvGrpSpPr>
            <a:grpSpLocks/>
          </p:cNvGrpSpPr>
          <p:nvPr userDrawn="1"/>
        </p:nvGrpSpPr>
        <p:grpSpPr bwMode="auto">
          <a:xfrm>
            <a:off x="121489" y="4579233"/>
            <a:ext cx="8722840" cy="473775"/>
            <a:chOff x="75" y="3769"/>
            <a:chExt cx="5385" cy="390"/>
          </a:xfrm>
        </p:grpSpPr>
        <p:sp>
          <p:nvSpPr>
            <p:cNvPr id="10957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206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545274" indent="-545274" defTabSz="800587" fontAlgn="base">
                <a:spcBef>
                  <a:spcPct val="0"/>
                </a:spcBef>
                <a:spcAft>
                  <a:spcPct val="0"/>
                </a:spcAft>
                <a:tabLst>
                  <a:tab pos="548164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2057" name="ACET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482165" y="739848"/>
            <a:ext cx="4350892" cy="511433"/>
            <a:chOff x="915" y="609"/>
            <a:chExt cx="2686" cy="421"/>
          </a:xfrm>
        </p:grpSpPr>
        <p:cxnSp>
          <p:nvCxnSpPr>
            <p:cNvPr id="2064" name="AutoShape 12" hidden="1"/>
            <p:cNvCxnSpPr>
              <a:cxnSpLocks noChangeShapeType="1"/>
              <a:stCxn id="2065" idx="4"/>
              <a:endCxn id="206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623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88623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9582" name="Rectangle 14"/>
          <p:cNvSpPr>
            <a:spLocks noGrp="1" noChangeArrowheads="1"/>
          </p:cNvSpPr>
          <p:nvPr>
            <p:ph type="sldNum" sz="quarter" idx="4"/>
            <p:custDataLst>
              <p:tags r:id="rId22"/>
            </p:custDataLst>
          </p:nvPr>
        </p:nvSpPr>
        <p:spPr bwMode="auto">
          <a:xfrm>
            <a:off x="8719602" y="4890820"/>
            <a:ext cx="19924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pPr defTabSz="886237" fontAlgn="base">
              <a:spcBef>
                <a:spcPct val="0"/>
              </a:spcBef>
              <a:spcAft>
                <a:spcPct val="0"/>
              </a:spcAft>
              <a:defRPr/>
            </a:pPr>
            <a:fld id="{6F3CC0E3-C142-48F3-8682-E5BBC4CB6779}" type="slidenum">
              <a:rPr lang="en-US" sz="1000" smtClean="0">
                <a:solidFill>
                  <a:srgbClr val="FFFFFF"/>
                </a:solidFill>
              </a:rPr>
              <a:pPr defTabSz="88623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000" smtClean="0">
                <a:solidFill>
                  <a:srgbClr val="FFFFFF"/>
                </a:solidFill>
              </a:rPr>
              <a:t> </a:t>
            </a:r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2059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208164" y="2076048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62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59452A"/>
                </a:solidFill>
              </a:rPr>
              <a:t>Working Draft - Last Modified 18/06/2012 17:51:37</a:t>
            </a:r>
            <a:endParaRPr lang="en-US" sz="1600" smtClean="0">
              <a:solidFill>
                <a:srgbClr val="59452A"/>
              </a:solidFill>
            </a:endParaRPr>
          </a:p>
        </p:txBody>
      </p:sp>
      <p:sp>
        <p:nvSpPr>
          <p:cNvPr id="2060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84697" y="3215547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862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2061" name="Rectangle 17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482160" y="1493039"/>
            <a:ext cx="4389768" cy="935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62" name="SlideLogoSeparator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590447" y="4856191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00587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063" name="doc id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00587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079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</p:sldLayoutIdLst>
  <p:hf hdr="0" ftr="0" dt="0"/>
  <p:txStyles>
    <p:titleStyle>
      <a:lvl1pPr algn="l" defTabSz="800587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00587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2pPr>
      <a:lvl3pPr algn="l" defTabSz="800587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3pPr>
      <a:lvl4pPr algn="l" defTabSz="800587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4pPr>
      <a:lvl5pPr algn="l" defTabSz="800587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5pPr>
      <a:lvl6pPr marL="411518" algn="l" defTabSz="80600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6pPr>
      <a:lvl7pPr marL="823155" algn="l" defTabSz="80600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7pPr>
      <a:lvl8pPr marL="1234764" algn="l" defTabSz="80600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8pPr>
      <a:lvl9pPr marL="1646350" algn="l" defTabSz="80600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9pPr>
    </p:titleStyle>
    <p:bodyStyle>
      <a:lvl1pPr marL="302922" indent="-302922" algn="l" defTabSz="80058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67333" indent="-165892" algn="l" defTabSz="800587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06759" indent="-229405" algn="l" defTabSz="800587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549600" indent="-132723" algn="l" defTabSz="800587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667878" indent="-109634" algn="l" defTabSz="800587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083287" indent="-117215" algn="l" defTabSz="806007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494851" indent="-117215" algn="l" defTabSz="806007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1906451" indent="-117215" algn="l" defTabSz="806007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318049" indent="-117215" algn="l" defTabSz="806007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518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23155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34764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6350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057920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469510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881085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292676" algn="l" defTabSz="823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26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Rectangle 12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708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McK 2. Slide Title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122493" y="176168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SlideLogoText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235051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796356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2207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9575" name="McK 3. Unit of measure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056" name="McK Slide Elements"/>
          <p:cNvGrpSpPr>
            <a:grpSpLocks/>
          </p:cNvGrpSpPr>
          <p:nvPr userDrawn="1"/>
        </p:nvGrpSpPr>
        <p:grpSpPr bwMode="auto">
          <a:xfrm>
            <a:off x="121489" y="4579272"/>
            <a:ext cx="8722840" cy="473775"/>
            <a:chOff x="75" y="3769"/>
            <a:chExt cx="5385" cy="390"/>
          </a:xfrm>
        </p:grpSpPr>
        <p:sp>
          <p:nvSpPr>
            <p:cNvPr id="10957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206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542395" indent="-542395" defTabSz="796356" fontAlgn="base">
                <a:spcBef>
                  <a:spcPct val="0"/>
                </a:spcBef>
                <a:spcAft>
                  <a:spcPct val="0"/>
                </a:spcAft>
                <a:tabLst>
                  <a:tab pos="545267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2057" name="ACET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1482165" y="739869"/>
            <a:ext cx="4350892" cy="511433"/>
            <a:chOff x="915" y="609"/>
            <a:chExt cx="2686" cy="421"/>
          </a:xfrm>
        </p:grpSpPr>
        <p:cxnSp>
          <p:nvCxnSpPr>
            <p:cNvPr id="2064" name="AutoShape 12" hidden="1"/>
            <p:cNvCxnSpPr>
              <a:cxnSpLocks noChangeShapeType="1"/>
              <a:stCxn id="2065" idx="4"/>
              <a:endCxn id="206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9582" name="Rectangle 14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8719602" y="4890820"/>
            <a:ext cx="19924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3CC0E3-C142-48F3-8682-E5BBC4CB6779}" type="slidenum">
              <a:rPr lang="en-US" sz="100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059" name="Working Draft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208217" y="2076048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59452A"/>
                </a:solidFill>
              </a:rPr>
              <a:t>Working Draft - Last Modified 18/06/2012 17:51:37</a:t>
            </a:r>
            <a:endParaRPr lang="en-US" sz="1600" smtClean="0">
              <a:solidFill>
                <a:srgbClr val="59452A"/>
              </a:solidFill>
            </a:endParaRPr>
          </a:p>
        </p:txBody>
      </p:sp>
      <p:sp>
        <p:nvSpPr>
          <p:cNvPr id="2060" name="Printed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584697" y="3215547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2061" name="Rectangle 17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 bwMode="auto">
          <a:xfrm>
            <a:off x="1482160" y="1493042"/>
            <a:ext cx="4389768" cy="935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62" name="SlideLogoSeparator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590447" y="4856191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796356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063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96356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751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</p:sldLayoutIdLst>
  <p:hf hdr="0" ftr="0" dt="0"/>
  <p:txStyles>
    <p:titleStyle>
      <a:lvl1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2pPr>
      <a:lvl3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3pPr>
      <a:lvl4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4pPr>
      <a:lvl5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5pPr>
      <a:lvl6pPr marL="409341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6pPr>
      <a:lvl7pPr marL="818805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7pPr>
      <a:lvl8pPr marL="1228233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8pPr>
      <a:lvl9pPr marL="1637648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9pPr>
    </p:titleStyle>
    <p:bodyStyle>
      <a:lvl1pPr marL="301320" indent="-301320" algn="l" defTabSz="79635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66449" indent="-165018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04609" indent="-228181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546695" indent="-132024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664348" indent="-109056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077559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486948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1896375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305787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9341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8805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28233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37648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047044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456455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865857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275272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74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Rectangle 12"/>
          <p:cNvPicPr>
            <a:picLocks noChangeArrowheads="1"/>
          </p:cNvPicPr>
          <p:nvPr>
            <p:custDataLst>
              <p:tags r:id="rId16"/>
            </p:custDataLst>
          </p:nvPr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597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McK 2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22336" y="176168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SlideLogoText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35051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08605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22207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112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9575" name="McK 3. Unit of measur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056" name="McK Slide Elements"/>
          <p:cNvGrpSpPr>
            <a:grpSpLocks/>
          </p:cNvGrpSpPr>
          <p:nvPr userDrawn="1"/>
        </p:nvGrpSpPr>
        <p:grpSpPr bwMode="auto">
          <a:xfrm>
            <a:off x="121489" y="4579161"/>
            <a:ext cx="8722840" cy="473775"/>
            <a:chOff x="75" y="3769"/>
            <a:chExt cx="5385" cy="390"/>
          </a:xfrm>
        </p:grpSpPr>
        <p:sp>
          <p:nvSpPr>
            <p:cNvPr id="10957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206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550737" indent="-550737" defTabSz="808605" fontAlgn="base">
                <a:spcBef>
                  <a:spcPct val="0"/>
                </a:spcBef>
                <a:spcAft>
                  <a:spcPct val="0"/>
                </a:spcAft>
                <a:tabLst>
                  <a:tab pos="553655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2057" name="ACET" hidden="1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1482165" y="739842"/>
            <a:ext cx="4350892" cy="511433"/>
            <a:chOff x="915" y="609"/>
            <a:chExt cx="2686" cy="421"/>
          </a:xfrm>
        </p:grpSpPr>
        <p:cxnSp>
          <p:nvCxnSpPr>
            <p:cNvPr id="2064" name="AutoShape 12" hidden="1"/>
            <p:cNvCxnSpPr>
              <a:cxnSpLocks noChangeShapeType="1"/>
              <a:stCxn id="2065" idx="4"/>
              <a:endCxn id="206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51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8951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9582" name="Rectangle 14"/>
          <p:cNvSpPr>
            <a:spLocks noGrp="1" noChangeArrowheads="1"/>
          </p:cNvSpPr>
          <p:nvPr>
            <p:ph type="sldNum" sz="quarter" idx="4"/>
            <p:custDataLst>
              <p:tags r:id="rId22"/>
            </p:custDataLst>
          </p:nvPr>
        </p:nvSpPr>
        <p:spPr bwMode="auto">
          <a:xfrm>
            <a:off x="8719602" y="4890820"/>
            <a:ext cx="19924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pPr defTabSz="895112" fontAlgn="base">
              <a:spcBef>
                <a:spcPct val="0"/>
              </a:spcBef>
              <a:spcAft>
                <a:spcPct val="0"/>
              </a:spcAft>
              <a:defRPr/>
            </a:pPr>
            <a:fld id="{6F3CC0E3-C142-48F3-8682-E5BBC4CB6779}" type="slidenum">
              <a:rPr lang="en-US" sz="1000" smtClean="0">
                <a:solidFill>
                  <a:srgbClr val="FFFFFF"/>
                </a:solidFill>
              </a:rPr>
              <a:pPr defTabSz="89511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000" smtClean="0">
                <a:solidFill>
                  <a:srgbClr val="FFFFFF"/>
                </a:solidFill>
              </a:rPr>
              <a:t> </a:t>
            </a:r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2059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208062" y="2076048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9511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59452A"/>
                </a:solidFill>
              </a:rPr>
              <a:t>Working Draft - Last Modified 18/06/2012 17:51:37</a:t>
            </a:r>
            <a:endParaRPr lang="en-US" sz="1600" smtClean="0">
              <a:solidFill>
                <a:srgbClr val="59452A"/>
              </a:solidFill>
            </a:endParaRPr>
          </a:p>
        </p:txBody>
      </p:sp>
      <p:sp>
        <p:nvSpPr>
          <p:cNvPr id="2060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84693" y="3215547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89511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2061" name="Rectangle 17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482160" y="1493030"/>
            <a:ext cx="4389768" cy="935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62" name="SlideLogoSeparator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590447" y="4856191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08605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063" name="doc id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08605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106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</p:sldLayoutIdLst>
  <p:hf hdr="0" ftr="0" dt="0"/>
  <p:txStyles>
    <p:titleStyle>
      <a:lvl1pPr algn="l" defTabSz="80860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0860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2pPr>
      <a:lvl3pPr algn="l" defTabSz="80860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3pPr>
      <a:lvl4pPr algn="l" defTabSz="80860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4pPr>
      <a:lvl5pPr algn="l" defTabSz="80860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5pPr>
      <a:lvl6pPr marL="415638" algn="l" defTabSz="814083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6pPr>
      <a:lvl7pPr marL="831398" algn="l" defTabSz="814083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7pPr>
      <a:lvl8pPr marL="1247123" algn="l" defTabSz="814083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8pPr>
      <a:lvl9pPr marL="1662836" algn="l" defTabSz="814083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9pPr>
    </p:titleStyle>
    <p:bodyStyle>
      <a:lvl1pPr marL="305964" indent="-305964" algn="l" defTabSz="808605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69010" indent="-167552" algn="l" defTabSz="808605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10835" indent="-231708" algn="l" defTabSz="808605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555105" indent="-134045" algn="l" defTabSz="808605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674566" indent="-110732" algn="l" defTabSz="808605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094133" indent="-118380" algn="l" defTabSz="814083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509822" indent="-118380" algn="l" defTabSz="814083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1925542" indent="-118380" algn="l" defTabSz="814083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341254" indent="-118380" algn="l" defTabSz="814083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5638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31398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47123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62836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078529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494239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909938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325649" algn="l" defTabSz="8313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93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Rectangle 12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708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McK 2. Slide Title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122486" y="176168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SlideLogoText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235051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796356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22207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9575" name="McK 3. Unit of measure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056" name="McK Slide Elements"/>
          <p:cNvGrpSpPr>
            <a:grpSpLocks/>
          </p:cNvGrpSpPr>
          <p:nvPr userDrawn="1"/>
        </p:nvGrpSpPr>
        <p:grpSpPr bwMode="auto">
          <a:xfrm>
            <a:off x="121489" y="4579272"/>
            <a:ext cx="8722840" cy="473775"/>
            <a:chOff x="75" y="3769"/>
            <a:chExt cx="5385" cy="390"/>
          </a:xfrm>
        </p:grpSpPr>
        <p:sp>
          <p:nvSpPr>
            <p:cNvPr id="10957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206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542395" indent="-542395" defTabSz="796356" fontAlgn="base">
                <a:spcBef>
                  <a:spcPct val="0"/>
                </a:spcBef>
                <a:spcAft>
                  <a:spcPct val="0"/>
                </a:spcAft>
                <a:tabLst>
                  <a:tab pos="545267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2057" name="ACET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1482165" y="739859"/>
            <a:ext cx="4350892" cy="511433"/>
            <a:chOff x="915" y="609"/>
            <a:chExt cx="2686" cy="421"/>
          </a:xfrm>
        </p:grpSpPr>
        <p:cxnSp>
          <p:nvCxnSpPr>
            <p:cNvPr id="2064" name="AutoShape 12" hidden="1"/>
            <p:cNvCxnSpPr>
              <a:cxnSpLocks noChangeShapeType="1"/>
              <a:stCxn id="2065" idx="4"/>
              <a:endCxn id="206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9582" name="Rectangle 14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8719602" y="4890820"/>
            <a:ext cx="19924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F3CC0E3-C142-48F3-8682-E5BBC4CB6779}" type="slidenum">
              <a:rPr lang="en-US" sz="100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0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059" name="Working Draft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208210" y="2076048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59452A"/>
                </a:solidFill>
              </a:rPr>
              <a:t>Working Draft - Last Modified 18/06/2012 17:51:37</a:t>
            </a:r>
            <a:endParaRPr lang="en-US" sz="1600" smtClean="0">
              <a:solidFill>
                <a:srgbClr val="59452A"/>
              </a:solidFill>
            </a:endParaRPr>
          </a:p>
        </p:txBody>
      </p:sp>
      <p:sp>
        <p:nvSpPr>
          <p:cNvPr id="2060" name="Printed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584693" y="3215547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2061" name="Rectangle 17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 bwMode="auto">
          <a:xfrm>
            <a:off x="1482160" y="1493033"/>
            <a:ext cx="4389768" cy="935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62" name="SlideLogoSeparator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590447" y="4856191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796356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063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96356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277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</p:sldLayoutIdLst>
  <p:hf hdr="0" ftr="0" dt="0"/>
  <p:txStyles>
    <p:titleStyle>
      <a:lvl1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2pPr>
      <a:lvl3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3pPr>
      <a:lvl4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4pPr>
      <a:lvl5pPr algn="l" defTabSz="796356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5pPr>
      <a:lvl6pPr marL="409341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6pPr>
      <a:lvl7pPr marL="818805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7pPr>
      <a:lvl8pPr marL="1228233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8pPr>
      <a:lvl9pPr marL="1637648" algn="l" defTabSz="801748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9pPr>
    </p:titleStyle>
    <p:bodyStyle>
      <a:lvl1pPr marL="301320" indent="-301320" algn="l" defTabSz="79635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66449" indent="-165018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04609" indent="-228181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546695" indent="-132024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664348" indent="-109056" algn="l" defTabSz="796356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077559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486948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1896375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305787" indent="-116601" algn="l" defTabSz="801748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9341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8805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28233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37648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047044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456455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865857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275272" algn="l" defTabSz="8188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7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9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218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289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26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7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42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41" y="472180"/>
            <a:ext cx="3170237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50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  <p:sldLayoutId id="2147484069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26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7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42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41" y="472180"/>
            <a:ext cx="3170237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8307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7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96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  <p:sldLayoutId id="214748410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9144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9144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595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1" r:id="rId8"/>
    <p:sldLayoutId id="2147484112" r:id="rId9"/>
    <p:sldLayoutId id="2147484113" r:id="rId10"/>
    <p:sldLayoutId id="2147484114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9144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400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9144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868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0091" y="347536"/>
            <a:ext cx="7983537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0091" y="1178585"/>
            <a:ext cx="7983537" cy="33694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28"/>
            <a:ext cx="2133600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defTabSz="914214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3" y="4807458"/>
            <a:ext cx="2306211" cy="273844"/>
          </a:xfrm>
          <a:prstGeom prst="rect">
            <a:avLst/>
          </a:prstGeom>
          <a:noFill/>
        </p:spPr>
        <p:txBody>
          <a:bodyPr vert="horz" lIns="91424" tIns="45712" rIns="91424" bIns="45712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defTabSz="914214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42"/>
            <a:ext cx="384048" cy="27384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defTabSz="914214"/>
            <a:fld id="{01052961-14CD-45D2-98DF-50022118EB18}" type="slidenum">
              <a:rPr lang="en-US" smtClean="0">
                <a:solidFill>
                  <a:srgbClr val="FFFFFF"/>
                </a:solidFill>
              </a:rPr>
              <a:pPr defTabSz="914214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0184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</p:sldLayoutIdLst>
  <p:transition>
    <p:fade/>
  </p:transition>
  <p:hf hdr="0" ftr="0" dt="0"/>
  <p:txStyles>
    <p:titleStyle>
      <a:lvl1pPr algn="l" defTabSz="914214" rtl="0" eaLnBrk="1" latinLnBrk="0" hangingPunct="1">
        <a:lnSpc>
          <a:spcPct val="90000"/>
        </a:lnSpc>
        <a:spcBef>
          <a:spcPct val="0"/>
        </a:spcBef>
        <a:buNone/>
        <a:defRPr lang="en-US" sz="360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Arial" charset="0"/>
        </a:defRPr>
      </a:lvl1pPr>
    </p:titleStyle>
    <p:bodyStyle>
      <a:lvl1pPr marL="228563" indent="-228563" algn="l" defTabSz="914214" rtl="0" eaLnBrk="1" latinLnBrk="0" hangingPunct="1">
        <a:lnSpc>
          <a:spcPts val="2600"/>
        </a:lnSpc>
        <a:spcBef>
          <a:spcPts val="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sz="24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457125" indent="-228563" algn="l" defTabSz="914214" rtl="0" eaLnBrk="1" latinLnBrk="0" hangingPunct="1">
        <a:lnSpc>
          <a:spcPts val="2400"/>
        </a:lnSpc>
        <a:spcBef>
          <a:spcPts val="0"/>
        </a:spcBef>
        <a:spcAft>
          <a:spcPts val="400"/>
        </a:spcAft>
        <a:buClr>
          <a:schemeClr val="accent2"/>
        </a:buClr>
        <a:buSzPct val="125000"/>
        <a:buFont typeface="Arial" pitchFamily="34" charset="0"/>
        <a:buChar char="•"/>
        <a:defRPr sz="2000" b="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82514" indent="-225389" algn="l" defTabSz="914214" rtl="0" eaLnBrk="1" latinLnBrk="0" hangingPunct="1">
        <a:lnSpc>
          <a:spcPts val="2500"/>
        </a:lnSpc>
        <a:spcBef>
          <a:spcPts val="0"/>
        </a:spcBef>
        <a:spcAft>
          <a:spcPts val="400"/>
        </a:spcAft>
        <a:buClr>
          <a:schemeClr val="accent2"/>
        </a:buClr>
        <a:buSzPct val="90000"/>
        <a:buFont typeface="Arial" pitchFamily="34" charset="0"/>
        <a:buChar char="−"/>
        <a:defRPr sz="1800" b="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99970" indent="-165074" algn="l" defTabSz="914214" rtl="0" eaLnBrk="1" latinLnBrk="0" hangingPunct="1">
        <a:lnSpc>
          <a:spcPts val="2200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600" b="1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77742" indent="-177772" algn="l" defTabSz="914214" rtl="0" eaLnBrk="1" latinLnBrk="0" hangingPunct="1">
        <a:lnSpc>
          <a:spcPts val="2000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400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091" indent="-228553" algn="l" defTabSz="914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97" indent="-228553" algn="l" defTabSz="914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05" indent="-228553" algn="l" defTabSz="914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3" indent="-228553" algn="l" defTabSz="914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4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1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0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37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44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52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0" algn="l" defTabSz="9142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035846"/>
            <a:ext cx="8228012" cy="36183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  <a:endParaRPr lang="en-US" dirty="0" smtClean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9" y="127595"/>
            <a:ext cx="8205261" cy="58916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pic>
        <p:nvPicPr>
          <p:cNvPr id="4" name="Picture 3" descr="U:\1405265\1405265 WBG Logo\LOGO FILES\Horizontal\WBG_Horizontal_Color\WBG_Horizontal-RGB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23" y="4817290"/>
            <a:ext cx="1376287" cy="26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0430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ts val="1950"/>
        </a:lnSpc>
        <a:spcBef>
          <a:spcPct val="0"/>
        </a:spcBef>
        <a:buNone/>
        <a:defRPr sz="1950" b="1" kern="120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3831" indent="-173831" algn="l" defTabSz="6858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95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42900" indent="-173831" algn="l" defTabSz="685800" rtl="0" eaLnBrk="1" latinLnBrk="0" hangingPunct="1">
        <a:lnSpc>
          <a:spcPct val="100000"/>
        </a:lnSpc>
        <a:spcBef>
          <a:spcPts val="46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8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516731" indent="-173831" algn="l" defTabSz="685800" rtl="0" eaLnBrk="1" latinLnBrk="0" hangingPunct="1">
        <a:lnSpc>
          <a:spcPct val="100000"/>
        </a:lnSpc>
        <a:spcBef>
          <a:spcPts val="432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5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685800" indent="-169069" algn="l" defTabSz="685800" rtl="0" eaLnBrk="1" latinLnBrk="0" hangingPunct="1">
        <a:lnSpc>
          <a:spcPct val="100000"/>
        </a:lnSpc>
        <a:spcBef>
          <a:spcPts val="39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35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859631" indent="-173831" algn="l" defTabSz="685800" rtl="0" eaLnBrk="1" latinLnBrk="0" hangingPunct="1">
        <a:lnSpc>
          <a:spcPct val="100000"/>
        </a:lnSpc>
        <a:spcBef>
          <a:spcPts val="36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2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656015" y="530228"/>
            <a:ext cx="5049837" cy="415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501655"/>
            <a:ext cx="201613" cy="2016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2925" y="4895855"/>
            <a:ext cx="2895600" cy="1555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defTabSz="914252" fontAlgn="auto">
              <a:spcBef>
                <a:spcPts val="0"/>
              </a:spcBef>
              <a:spcAft>
                <a:spcPts val="0"/>
              </a:spcAft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0113" y="4895855"/>
            <a:ext cx="190500" cy="15557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defTabSz="914252"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25C2B37-A0CE-4D4B-93C0-B5679F9AD4E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7" y="4848225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1488"/>
            <a:ext cx="3170238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75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  <p:sldLayoutId id="2147484142" r:id="rId4"/>
    <p:sldLayoutId id="2147484143" r:id="rId5"/>
    <p:sldLayoutId id="2147484144" r:id="rId6"/>
    <p:sldLayoutId id="2147484145" r:id="rId7"/>
    <p:sldLayoutId id="2147484146" r:id="rId8"/>
    <p:sldLayoutId id="2147484147" r:id="rId9"/>
    <p:sldLayoutId id="2147484148" r:id="rId10"/>
    <p:sldLayoutId id="2147484149" r:id="rId11"/>
    <p:sldLayoutId id="2147484150" r:id="rId12"/>
    <p:sldLayoutId id="2147484151" r:id="rId13"/>
    <p:sldLayoutId id="2147484152" r:id="rId14"/>
    <p:sldLayoutId id="2147484153" r:id="rId15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300" kern="1200" cap="all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  <a:lvl2pPr algn="l" defTabSz="912813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l" defTabSz="912813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l" defTabSz="912813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l" defTabSz="912813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l" defTabSz="912813" rtl="0" fontAlgn="base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l" defTabSz="912813" rtl="0" fontAlgn="base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l" defTabSz="912813" rtl="0" fontAlgn="base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l" defTabSz="912813" rtl="0" fontAlgn="base">
        <a:lnSpc>
          <a:spcPts val="2300"/>
        </a:lnSpc>
        <a:spcBef>
          <a:spcPct val="0"/>
        </a:spcBef>
        <a:spcAft>
          <a:spcPct val="0"/>
        </a:spcAft>
        <a:defRPr sz="23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algn="l" defTabSz="912813" rtl="0" eaLnBrk="0" fontAlgn="base" hangingPunct="0">
        <a:spcBef>
          <a:spcPct val="20000"/>
        </a:spcBef>
        <a:spcAft>
          <a:spcPct val="0"/>
        </a:spcAft>
        <a:buClr>
          <a:srgbClr val="2F85AA"/>
        </a:buClr>
        <a:buFont typeface="Wingdings" pitchFamily="2" charset="2"/>
        <a:defRPr sz="14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1pPr>
      <a:lvl2pPr marL="180975" indent="-180975" algn="l" defTabSz="912813" rtl="0" eaLnBrk="0" fontAlgn="base" hangingPunct="0">
        <a:spcBef>
          <a:spcPct val="20000"/>
        </a:spcBef>
        <a:spcAft>
          <a:spcPct val="0"/>
        </a:spcAft>
        <a:buClr>
          <a:srgbClr val="5393AB"/>
        </a:buClr>
        <a:buFont typeface="Wingdings" pitchFamily="2" charset="2"/>
        <a:buChar char="§"/>
        <a:defRPr sz="13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342900" indent="-147638" algn="l" defTabSz="912813" rtl="0" eaLnBrk="0" fontAlgn="base" hangingPunct="0">
        <a:spcBef>
          <a:spcPct val="20000"/>
        </a:spcBef>
        <a:spcAft>
          <a:spcPct val="0"/>
        </a:spcAft>
        <a:buClr>
          <a:srgbClr val="5393AB"/>
        </a:buClr>
        <a:buFont typeface="Arial" pitchFamily="34" charset="0"/>
        <a:buChar char="•"/>
        <a:tabLst>
          <a:tab pos="398463" algn="l"/>
        </a:tabLst>
        <a:defRPr sz="13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512763" indent="-169863" algn="l" defTabSz="912813" rtl="0" eaLnBrk="0" fontAlgn="base" hangingPunct="0">
        <a:spcBef>
          <a:spcPct val="20000"/>
        </a:spcBef>
        <a:spcAft>
          <a:spcPct val="0"/>
        </a:spcAft>
        <a:buClr>
          <a:srgbClr val="5393AB"/>
        </a:buClr>
        <a:buFont typeface="Arial" pitchFamily="34" charset="0"/>
        <a:buChar char="-"/>
        <a:defRPr sz="11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684213" indent="-169863" algn="l" defTabSz="912813" rtl="0" eaLnBrk="0" fontAlgn="base" hangingPunct="0">
        <a:spcBef>
          <a:spcPct val="20000"/>
        </a:spcBef>
        <a:spcAft>
          <a:spcPct val="0"/>
        </a:spcAft>
        <a:buClr>
          <a:srgbClr val="5393AB"/>
        </a:buClr>
        <a:buSzPct val="100000"/>
        <a:buFont typeface="Arial" pitchFamily="34" charset="0"/>
        <a:buChar char="◦"/>
        <a:defRPr sz="11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Rectangle 12"/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24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McK 2. Slide Title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121568" y="176165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34400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3104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© </a:t>
            </a:r>
            <a:r>
              <a:rPr lang="en-US" sz="1000" dirty="0" smtClean="0">
                <a:solidFill>
                  <a:srgbClr val="FFFFFF"/>
                </a:solidFill>
              </a:rPr>
              <a:t>2014 </a:t>
            </a:r>
            <a:r>
              <a:rPr lang="en-US" sz="1000" dirty="0">
                <a:solidFill>
                  <a:srgbClr val="FFFFFF"/>
                </a:solidFill>
              </a:rPr>
              <a:t>Bill &amp; Melinda Gates Foundation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551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0481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9575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056" name="McK Slide Elements"/>
          <p:cNvGrpSpPr>
            <a:grpSpLocks/>
          </p:cNvGrpSpPr>
          <p:nvPr/>
        </p:nvGrpSpPr>
        <p:grpSpPr bwMode="auto">
          <a:xfrm>
            <a:off x="121489" y="4578660"/>
            <a:ext cx="8722840" cy="473775"/>
            <a:chOff x="75" y="3769"/>
            <a:chExt cx="5385" cy="390"/>
          </a:xfrm>
        </p:grpSpPr>
        <p:sp>
          <p:nvSpPr>
            <p:cNvPr id="10957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206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277" indent="-608277" defTabSz="893104" fontAlgn="base">
                <a:spcBef>
                  <a:spcPct val="0"/>
                </a:spcBef>
                <a:spcAft>
                  <a:spcPct val="0"/>
                </a:spcAft>
                <a:tabLst>
                  <a:tab pos="611495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2057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2064" name="AutoShape 12" hidden="1"/>
            <p:cNvCxnSpPr>
              <a:cxnSpLocks noChangeShapeType="1"/>
              <a:stCxn id="2065" idx="4"/>
              <a:endCxn id="206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5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04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104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9582" name="Rectangle 14"/>
          <p:cNvSpPr>
            <a:spLocks noGrp="1" noChangeArrowheads="1"/>
          </p:cNvSpPr>
          <p:nvPr>
            <p:ph type="sldNum" sz="quarter" idx="4"/>
            <p:custDataLst>
              <p:tags r:id="rId12"/>
            </p:custDataLst>
          </p:nvPr>
        </p:nvSpPr>
        <p:spPr bwMode="auto">
          <a:xfrm>
            <a:off x="8719602" y="4890820"/>
            <a:ext cx="19924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pPr defTabSz="910481" fontAlgn="base">
              <a:spcBef>
                <a:spcPct val="0"/>
              </a:spcBef>
              <a:spcAft>
                <a:spcPct val="0"/>
              </a:spcAft>
              <a:defRPr/>
            </a:pPr>
            <a:fld id="{6F3CC0E3-C142-48F3-8682-E5BBC4CB6779}" type="slidenum">
              <a:rPr lang="en-US" sz="1000" smtClean="0">
                <a:solidFill>
                  <a:srgbClr val="FFFFFF"/>
                </a:solidFill>
              </a:rPr>
              <a:pPr defTabSz="910481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000" smtClean="0">
                <a:solidFill>
                  <a:srgbClr val="FFFFFF"/>
                </a:solidFill>
              </a:rPr>
              <a:t> </a:t>
            </a:r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2059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8207972" y="207557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04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59452A"/>
                </a:solidFill>
              </a:rPr>
              <a:t>Working Draft - Last Modified 18/06/2012 17:51:37</a:t>
            </a:r>
            <a:endParaRPr lang="en-US" sz="1600" smtClean="0">
              <a:solidFill>
                <a:srgbClr val="59452A"/>
              </a:solidFill>
            </a:endParaRPr>
          </a:p>
        </p:txBody>
      </p:sp>
      <p:sp>
        <p:nvSpPr>
          <p:cNvPr id="2060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8584697" y="3215071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04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2061" name="Rectangle 17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1482160" y="1493014"/>
            <a:ext cx="4389768" cy="935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62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590495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3104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2063" name="doc id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3104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10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10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310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2pPr>
      <a:lvl3pPr algn="l" defTabSz="89310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3pPr>
      <a:lvl4pPr algn="l" defTabSz="89310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4pPr>
      <a:lvl5pPr algn="l" defTabSz="893104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5pPr>
      <a:lvl6pPr marL="459101" algn="l" defTabSz="89915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6pPr>
      <a:lvl7pPr marL="918282" algn="l" defTabSz="89915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7pPr>
      <a:lvl8pPr marL="1377432" algn="l" defTabSz="89915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8pPr>
      <a:lvl9pPr marL="1836579" algn="l" defTabSz="89915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9pPr>
    </p:titleStyle>
    <p:bodyStyle>
      <a:lvl1pPr marL="337930" indent="-337930" algn="l" defTabSz="89310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6665" indent="-185058" algn="l" defTabSz="893104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3787" indent="-255863" algn="l" defTabSz="893104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3104" indent="-148047" algn="l" defTabSz="893104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5061" indent="-122299" algn="l" defTabSz="893104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8450" indent="-130729" algn="l" defTabSz="89915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7591" indent="-130729" algn="l" defTabSz="89915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26746" indent="-130729" algn="l" defTabSz="89915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85887" indent="-130729" algn="l" defTabSz="89915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9101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8282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7432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6579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5722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4870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4016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3159" algn="l" defTabSz="918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26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7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42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41" y="472180"/>
            <a:ext cx="3170237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670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3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0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61984" cy="1214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747" name="Rectangle 12"/>
          <p:cNvPicPr>
            <a:picLocks noChangeArrowheads="1"/>
          </p:cNvPicPr>
          <p:nvPr>
            <p:custDataLst>
              <p:tags r:id="rId1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479" y="4756033"/>
            <a:ext cx="9155338" cy="38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8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21581" y="176165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1749" name="SlideLogoText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234397" y="4872187"/>
            <a:ext cx="226824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FFFF"/>
                </a:solidFill>
              </a:rPr>
              <a:t>© 2011 Bill &amp; Melinda Gates Foundation</a:t>
            </a:r>
          </a:p>
        </p:txBody>
      </p:sp>
      <p:sp>
        <p:nvSpPr>
          <p:cNvPr id="31750" name="McK 1. On-page tracke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21564" y="2065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4825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9575" name="McK 3. Unit of measur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21491" y="406963"/>
            <a:ext cx="373049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 eaLnBrk="0" hangingPunct="0">
              <a:defRPr sz="900" b="1">
                <a:solidFill>
                  <a:schemeClr val="tx1"/>
                </a:solidFill>
                <a:latin typeface="Arial" pitchFamily="34" charset="0"/>
              </a:defRPr>
            </a:lvl5pPr>
            <a:lvl6pPr marL="22494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6pPr>
            <a:lvl7pPr marL="27066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7pPr>
            <a:lvl8pPr marL="31638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8pPr>
            <a:lvl9pPr marL="3621088" algn="ctr" defTabSz="89535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1752" name="McK Slide Elements"/>
          <p:cNvGrpSpPr>
            <a:grpSpLocks/>
          </p:cNvGrpSpPr>
          <p:nvPr/>
        </p:nvGrpSpPr>
        <p:grpSpPr bwMode="auto">
          <a:xfrm>
            <a:off x="121489" y="4578669"/>
            <a:ext cx="8722840" cy="473775"/>
            <a:chOff x="75" y="3769"/>
            <a:chExt cx="5385" cy="390"/>
          </a:xfrm>
        </p:grpSpPr>
        <p:sp>
          <p:nvSpPr>
            <p:cNvPr id="10957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6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 eaLnBrk="0" hangingPunct="0">
                <a:defRPr sz="9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9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0" smtClean="0">
                  <a:solidFill>
                    <a:srgbClr val="59452A"/>
                  </a:solidFill>
                </a:rPr>
                <a:t>1 Footnote</a:t>
              </a:r>
            </a:p>
          </p:txBody>
        </p:sp>
        <p:sp>
          <p:nvSpPr>
            <p:cNvPr id="31763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2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2326" indent="-612326" defTabSz="901609" fontAlgn="base">
                <a:spcBef>
                  <a:spcPct val="0"/>
                </a:spcBef>
                <a:spcAft>
                  <a:spcPct val="0"/>
                </a:spcAft>
                <a:tabLst>
                  <a:tab pos="615540" algn="l"/>
                </a:tabLst>
              </a:pPr>
              <a:r>
                <a:rPr lang="en-US" sz="1000">
                  <a:solidFill>
                    <a:srgbClr val="59452A"/>
                  </a:solidFill>
                </a:rPr>
                <a:t>SOURCE: Source</a:t>
              </a:r>
            </a:p>
          </p:txBody>
        </p:sp>
      </p:grpSp>
      <p:grpSp>
        <p:nvGrpSpPr>
          <p:cNvPr id="31753" name="ACET" hidden="1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1482165" y="739828"/>
            <a:ext cx="4350892" cy="511433"/>
            <a:chOff x="915" y="609"/>
            <a:chExt cx="2686" cy="421"/>
          </a:xfrm>
        </p:grpSpPr>
        <p:cxnSp>
          <p:nvCxnSpPr>
            <p:cNvPr id="31760" name="AutoShape 12" hidden="1"/>
            <p:cNvCxnSpPr>
              <a:cxnSpLocks noChangeShapeType="1"/>
              <a:stCxn id="31761" idx="4"/>
              <a:endCxn id="3176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1761" name="AutoShape 13" hidden="1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59452A"/>
                  </a:solidFill>
                </a:rPr>
                <a:t>Title</a:t>
              </a:r>
            </a:p>
            <a:p>
              <a:pPr defTabSz="9048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09582" name="Rectangle 14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8719602" y="4890820"/>
            <a:ext cx="199240" cy="116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defTabSz="905188">
              <a:defRPr b="0">
                <a:solidFill>
                  <a:srgbClr val="FFFFFF"/>
                </a:solidFill>
                <a:latin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073CC91-EA35-46BF-9CF3-D74A0487BD93}" type="slidenum">
              <a:rPr lang="en-US" sz="10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000"/>
              <a:t> </a:t>
            </a:r>
          </a:p>
        </p:txBody>
      </p:sp>
      <p:sp>
        <p:nvSpPr>
          <p:cNvPr id="2059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207952" y="2075562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Working Draft - Last Modified 08/06/2012 16:45:28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2060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584652" y="3215058"/>
            <a:ext cx="9762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0518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0" smtClean="0">
                <a:solidFill>
                  <a:srgbClr val="59452A"/>
                </a:solidFill>
              </a:rPr>
              <a:t>Printed 17/01/2012 16:35:15</a:t>
            </a:r>
            <a:endParaRPr lang="en-US" sz="1600" b="0" smtClean="0">
              <a:solidFill>
                <a:srgbClr val="59452A"/>
              </a:solidFill>
            </a:endParaRPr>
          </a:p>
        </p:txBody>
      </p:sp>
      <p:sp>
        <p:nvSpPr>
          <p:cNvPr id="31757" name="Rectangle 17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1482160" y="1493014"/>
            <a:ext cx="4389768" cy="935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1758" name="SlideLogoSeparator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590451" y="4856194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FFFFFF"/>
                </a:solidFill>
              </a:rPr>
              <a:t>|</a:t>
            </a:r>
          </a:p>
        </p:txBody>
      </p:sp>
      <p:sp>
        <p:nvSpPr>
          <p:cNvPr id="31759" name="doc id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2466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1609" fontAlgn="base">
              <a:spcBef>
                <a:spcPct val="0"/>
              </a:spcBef>
              <a:spcAft>
                <a:spcPct val="0"/>
              </a:spcAft>
            </a:pPr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02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0160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0160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2pPr>
      <a:lvl3pPr algn="l" defTabSz="90160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3pPr>
      <a:lvl4pPr algn="l" defTabSz="90160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4pPr>
      <a:lvl5pPr algn="l" defTabSz="901609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5pPr>
      <a:lvl6pPr marL="461199" algn="l" defTabSz="90326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6pPr>
      <a:lvl7pPr marL="922480" algn="l" defTabSz="90326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7pPr>
      <a:lvl8pPr marL="1383726" algn="l" defTabSz="90326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8pPr>
      <a:lvl9pPr marL="1844968" algn="l" defTabSz="903265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pitchFamily="34" charset="0"/>
          <a:cs typeface="Arial" pitchFamily="34" charset="0"/>
        </a:defRPr>
      </a:lvl9pPr>
    </p:titleStyle>
    <p:bodyStyle>
      <a:lvl1pPr marL="343932" indent="-343932" algn="l" defTabSz="901609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859" indent="-191253" algn="l" defTabSz="901609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9645" indent="-261968" algn="l" defTabSz="901609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7147" indent="-154272" algn="l" defTabSz="901609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50542" indent="-128575" algn="l" defTabSz="901609" rtl="0" eaLnBrk="0" fontAlgn="base" hangingPunct="0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13968" indent="-131326" algn="l" defTabSz="90326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75210" indent="-131326" algn="l" defTabSz="90326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36454" indent="-131326" algn="l" defTabSz="90326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97698" indent="-131326" algn="l" defTabSz="903265" rtl="0" fontAlgn="base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1199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2480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3726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4968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6213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7455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8697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9941" algn="l" defTabSz="9224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26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8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42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41" y="472180"/>
            <a:ext cx="3170237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480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  <p:sldLayoutId id="2147483924" r:id="rId14"/>
    <p:sldLayoutId id="214748392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26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37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40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41" y="472180"/>
            <a:ext cx="3170237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6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  <p:sldLayoutId id="2147483941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68569" tIns="34284" rIns="68569" bIns="3428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68569" tIns="34284" rIns="68569" bIns="3428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68569" tIns="34284" rIns="68569" bIns="3428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88"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vert="horz" lIns="68569" tIns="34284" rIns="68569" bIns="34284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88">
              <a:defRPr/>
            </a:pPr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68569" tIns="34284" rIns="68569" bIns="34284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88">
              <a:defRPr/>
            </a:pPr>
            <a:fld id="{6B645FDE-53F0-4CF4-A503-B9FC6ECF274D}" type="slidenum">
              <a:rPr lang="en-IN" smtClean="0">
                <a:solidFill>
                  <a:prstClr val="black">
                    <a:tint val="75000"/>
                  </a:prstClr>
                </a:solidFill>
              </a:rPr>
              <a:pPr defTabSz="685688">
                <a:defRPr/>
              </a:pPr>
              <a:t>‹#›</a:t>
            </a:fld>
            <a:endParaRPr lang="en-IN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/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31" t="17429" r="11228" b="71292"/>
          <a:stretch>
            <a:fillRect/>
          </a:stretch>
        </p:blipFill>
        <p:spPr bwMode="auto">
          <a:xfrm rot="16200000">
            <a:off x="-2422843" y="2422862"/>
            <a:ext cx="5143500" cy="297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W:\Library\Care Logo.jpg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9878" y="4446039"/>
            <a:ext cx="512676" cy="6424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37945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</p:sldLayoutIdLst>
  <p:hf hdr="0" ftr="0" dt="0"/>
  <p:txStyles>
    <p:titleStyle>
      <a:lvl1pPr algn="ctr" defTabSz="685688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33" indent="-257133" algn="l" defTabSz="68568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23" indent="-214278" algn="l" defTabSz="68568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10" indent="-171422" algn="l" defTabSz="68568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55" indent="-171422" algn="l" defTabSz="685688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00" indent="-171422" algn="l" defTabSz="685688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44" indent="-171422" algn="l" defTabSz="68568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88" indent="-171422" algn="l" defTabSz="68568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32" indent="-171422" algn="l" defTabSz="68568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176" indent="-171422" algn="l" defTabSz="68568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4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88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33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76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22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65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10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54" algn="l" defTabSz="68568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26" y="530459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79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42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41" y="472180"/>
            <a:ext cx="3170237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smtClean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26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252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252" rtl="0" eaLnBrk="1" latinLnBrk="0" hangingPunct="1">
        <a:spcBef>
          <a:spcPct val="200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33" indent="-182533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32" indent="-149201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99985" algn="l"/>
        </a:tabLst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266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688" indent="-171422" algn="l" defTabSz="914252" rtl="0" eaLnBrk="1" latinLnBrk="0" hangingPunct="1">
        <a:spcBef>
          <a:spcPct val="200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191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7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43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8" indent="-228563" algn="l" defTabSz="91425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2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3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8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54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0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06" algn="l" defTabSz="9142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3557871"/>
            <a:ext cx="9143999" cy="1460938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/>
            </a:r>
            <a:b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Public financial management system</a:t>
            </a:r>
            <a:b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Health 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module</a:t>
            </a:r>
            <a:b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30 Aug 2016, </a:t>
            </a:r>
            <a:r>
              <a:rPr lang="en-US" sz="2000" b="1" dirty="0" err="1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tirupati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/>
            </a:r>
            <a:b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endParaRPr lang="en-US" sz="1800" b="1" dirty="0">
              <a:latin typeface="+mj-lt"/>
            </a:endParaRPr>
          </a:p>
        </p:txBody>
      </p:sp>
      <p:pic>
        <p:nvPicPr>
          <p:cNvPr id="4" name="Picture 3" descr="U:\1405265\1405265 WBG Logo\LOGO FILES\Horizontal\WBG_Horizontal_Color\WBG_Horizontal-RG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91" y="210788"/>
            <a:ext cx="2711426" cy="530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90445" y="842695"/>
            <a:ext cx="2835667" cy="304798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292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3"/>
          <p:cNvSpPr txBox="1">
            <a:spLocks/>
          </p:cNvSpPr>
          <p:nvPr/>
        </p:nvSpPr>
        <p:spPr>
          <a:xfrm>
            <a:off x="40150" y="4696467"/>
            <a:ext cx="2455720" cy="322342"/>
          </a:xfrm>
          <a:prstGeom prst="rect">
            <a:avLst/>
          </a:prstGeom>
        </p:spPr>
        <p:txBody>
          <a:bodyPr/>
          <a:lstStyle>
            <a:lvl1pPr marL="0" indent="0" algn="l" defTabSz="914252" rtl="0" eaLnBrk="1" latinLnBrk="0" hangingPunct="1">
              <a:spcBef>
                <a:spcPct val="20000"/>
              </a:spcBef>
              <a:buClr>
                <a:srgbClr val="2F85AA"/>
              </a:buClr>
              <a:buFont typeface="Wingdings" pitchFamily="2" charset="2"/>
              <a:buNone/>
              <a:defRPr sz="14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33" indent="-182533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4432" indent="-149201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Arial" pitchFamily="34" charset="0"/>
              <a:buChar char="•"/>
              <a:tabLst>
                <a:tab pos="399985" algn="l"/>
              </a:tabLst>
              <a:defRPr sz="13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4266" indent="-171422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Arial" panose="020B0604020202020204" pitchFamily="34" charset="0"/>
              <a:buChar char="-"/>
              <a:defRPr sz="11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85688" indent="-171422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SzPct val="100000"/>
              <a:buFont typeface="Arial" panose="020B0604020202020204" pitchFamily="34" charset="0"/>
              <a:buChar char="◦"/>
              <a:defRPr sz="11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191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17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43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8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31651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SzPct val="115000"/>
            </a:pPr>
            <a:endParaRPr lang="en-US" sz="1600" b="1" kern="0" dirty="0">
              <a:solidFill>
                <a:srgbClr val="59452A"/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532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1000" smtClean="0">
                <a:solidFill>
                  <a:srgbClr val="000000"/>
                </a:solidFill>
              </a:rPr>
              <a:pPr/>
              <a:t>9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80249" y="374815"/>
            <a:ext cx="8329613" cy="381930"/>
          </a:xfrm>
        </p:spPr>
        <p:txBody>
          <a:bodyPr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EVENT RECORDING – Beneficiary search UI</a:t>
            </a:r>
            <a:endParaRPr lang="en-US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55" y="756745"/>
            <a:ext cx="7441324" cy="4138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79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>
                <a:solidFill>
                  <a:srgbClr val="000000"/>
                </a:solidFill>
              </a:rPr>
              <a:t>Analytics and </a:t>
            </a:r>
            <a:r>
              <a:rPr lang="en-US" sz="2000" b="1" dirty="0" smtClean="0">
                <a:solidFill>
                  <a:srgbClr val="000000"/>
                </a:solidFill>
              </a:rPr>
              <a:t>Reporting - 1</a:t>
            </a:r>
            <a:endParaRPr lang="en-US" b="1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65142" y="882356"/>
            <a:ext cx="8329613" cy="309448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200" dirty="0" smtClean="0"/>
              <a:t>Following widgets are currently available in the Dashboard and Reports, and more are being added:</a:t>
            </a:r>
            <a:endParaRPr lang="en-US" sz="1600" dirty="0" smtClean="0"/>
          </a:p>
          <a:p>
            <a:pPr>
              <a:lnSpc>
                <a:spcPct val="150000"/>
              </a:lnSpc>
            </a:pPr>
            <a:endParaRPr lang="en-US" sz="1600" dirty="0" smtClean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839279914"/>
              </p:ext>
            </p:extLst>
          </p:nvPr>
        </p:nvGraphicFramePr>
        <p:xfrm>
          <a:off x="763712" y="1159145"/>
          <a:ext cx="7578904" cy="3608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79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>
                <a:solidFill>
                  <a:srgbClr val="000000"/>
                </a:solidFill>
              </a:rPr>
              <a:t>Analytics and </a:t>
            </a:r>
            <a:r>
              <a:rPr lang="en-US" sz="2000" b="1" dirty="0" smtClean="0">
                <a:solidFill>
                  <a:srgbClr val="000000"/>
                </a:solidFill>
              </a:rPr>
              <a:t>Reporting - 2</a:t>
            </a:r>
            <a:endParaRPr lang="en-US" b="1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191972977"/>
              </p:ext>
            </p:extLst>
          </p:nvPr>
        </p:nvGraphicFramePr>
        <p:xfrm>
          <a:off x="763712" y="1159145"/>
          <a:ext cx="7578904" cy="3608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0010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2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MOBILE APPS</a:t>
            </a:r>
            <a:endParaRPr lang="en-US" b="1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410941972"/>
              </p:ext>
            </p:extLst>
          </p:nvPr>
        </p:nvGraphicFramePr>
        <p:xfrm>
          <a:off x="365142" y="1001349"/>
          <a:ext cx="5863119" cy="3749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318607" y="472180"/>
            <a:ext cx="2376148" cy="1993187"/>
          </a:xfrm>
          <a:prstGeom prst="rect">
            <a:avLst/>
          </a:prstGeo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Low Bandwidth Consump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Android based for Mass Accessibility</a:t>
            </a:r>
            <a:endParaRPr lang="en-US" sz="16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Ease of Us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Seamless Data Capture &amp; Approval Process</a:t>
            </a:r>
            <a:endParaRPr lang="en-US" sz="16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Minimal Training Required for Operatio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 smtClean="0"/>
          </a:p>
          <a:p>
            <a:pPr>
              <a:lnSpc>
                <a:spcPct val="150000"/>
              </a:lnSpc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58070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3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Event Recording APP </a:t>
            </a:r>
            <a:r>
              <a:rPr lang="en-US" sz="2000" b="1" dirty="0" err="1" smtClean="0">
                <a:solidFill>
                  <a:srgbClr val="000000"/>
                </a:solidFill>
              </a:rPr>
              <a:t>ui</a:t>
            </a:r>
            <a:endParaRPr lang="en-US" b="1" dirty="0"/>
          </a:p>
        </p:txBody>
      </p:sp>
      <p:pic>
        <p:nvPicPr>
          <p:cNvPr id="12" name="Picture 11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42" y="854110"/>
            <a:ext cx="2106202" cy="3861728"/>
          </a:xfrm>
          <a:prstGeom prst="rect">
            <a:avLst/>
          </a:prstGeom>
        </p:spPr>
      </p:pic>
      <p:pic>
        <p:nvPicPr>
          <p:cNvPr id="13" name="Picture 12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305" y="853038"/>
            <a:ext cx="2106000" cy="38628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675" y="912974"/>
            <a:ext cx="2106000" cy="3744000"/>
          </a:xfrm>
          <a:prstGeom prst="rect">
            <a:avLst/>
          </a:prstGeom>
        </p:spPr>
      </p:pic>
      <p:pic>
        <p:nvPicPr>
          <p:cNvPr id="15" name="Picture 14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3468" y="794174"/>
            <a:ext cx="2106000" cy="386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066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4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Event approval APP </a:t>
            </a:r>
            <a:r>
              <a:rPr lang="en-US" sz="2000" b="1" dirty="0" err="1" smtClean="0">
                <a:solidFill>
                  <a:srgbClr val="000000"/>
                </a:solidFill>
              </a:rPr>
              <a:t>ui</a:t>
            </a:r>
            <a:endParaRPr lang="en-US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551" y="854110"/>
            <a:ext cx="2175564" cy="38676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497" y="853482"/>
            <a:ext cx="2174850" cy="3866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512" y="853482"/>
            <a:ext cx="2174850" cy="3866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798" y="853482"/>
            <a:ext cx="2174850" cy="38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05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5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nfigured Programs in HM with FMR Codes</a:t>
            </a:r>
            <a:endParaRPr lang="en-US" b="1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867818523"/>
              </p:ext>
            </p:extLst>
          </p:nvPr>
        </p:nvGraphicFramePr>
        <p:xfrm>
          <a:off x="357580" y="1321826"/>
          <a:ext cx="8344736" cy="3568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686"/>
                <a:gridCol w="3111062"/>
                <a:gridCol w="3255258"/>
                <a:gridCol w="1502730"/>
              </a:tblGrid>
              <a:tr h="35982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l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gramme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am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neficiary Type/Group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w FMR Code (2017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85513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darsh Dampati Yojana (ESB Schem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.1.3.3.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855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.1.3.3.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6921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ternate Service Deliveries for Vitamin A Round (Urban Area &amp; Non-ASHA Area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.1.3.2.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8551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 Diva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.1.3.6.6.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44869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mily Planning - Female Steriliz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tivator/ASHA / Anesthetist/Assisting MO/ Citizen / Nurse/ANM / OT Technician/Helper / Surgeon / Clerk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3.1.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44869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mily Planning - Female Sterilization PP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tivator/ASHA / Anesthetist/Assisting MO/ Citizen / Nurse/ANM / OT Technician/Helper / Surgeon / Clerk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3.1.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44869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mily Planning - Male Steriliz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tivator/ASHA / Anesthetist/Assisting MO/ Citizen / Nurse/ANM / OT Technician/Helper / Surgeon / Clerk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3.1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8551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amily Planning - PPIUCD Services - Inser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 / Medical Officer/SN/ANH/LHV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.1.3.3.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8551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ull Immuniz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ealth Work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.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8551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ome Based New Born Car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2.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8551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anani Evam Bal Suraksha Yojana for Home Deliveri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th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1.3.b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399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6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246523382"/>
              </p:ext>
            </p:extLst>
          </p:nvPr>
        </p:nvGraphicFramePr>
        <p:xfrm>
          <a:off x="365125" y="1355835"/>
          <a:ext cx="8329612" cy="3297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75"/>
                <a:gridCol w="3615531"/>
                <a:gridCol w="2448938"/>
                <a:gridCol w="1715868"/>
              </a:tblGrid>
              <a:tr h="39939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l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gramme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am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neficiary Type/Group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w FMR Code (2017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41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anani Evam Bal Suraksha Yojana Institutional C Section Deliver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 / Anesthetist/Assisting MO / Doctor / Mother / Paramedic / RK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1.3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41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anani Evam Bal Suraksha Yojana Institutional Deliveries for Rural Are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 / Moth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1.3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41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Janani Evam Bal Suraksha Yojana Institutional Deliveries for Urban Are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 / Moth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1.3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955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ernal Death Review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ealth Worker / District Verifier / Citize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1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955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ational Deworming Da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1.1.3.6.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841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ational Leprosy Eradication Programme (NLEP) - Disability Prevention and Medical Rehabilit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tien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.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8417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ational Leprosy Eradication Programme (NLEP) - Special Search Programme (ASHA Incentiv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.1.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5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IDDCP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.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5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LEP - Services in Urban Areas in High Endemic Distric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ctor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.1.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5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LEP - Services in Urban Areas in High Endemic Distric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ctor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.1.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figured Programs in HM with FMR Codes</a:t>
            </a:r>
          </a:p>
        </p:txBody>
      </p:sp>
    </p:spTree>
    <p:extLst>
      <p:ext uri="{BB962C8B-B14F-4D97-AF65-F5344CB8AC3E}">
        <p14:creationId xmlns:p14="http://schemas.microsoft.com/office/powerpoint/2010/main" val="295075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7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654670492"/>
              </p:ext>
            </p:extLst>
          </p:nvPr>
        </p:nvGraphicFramePr>
        <p:xfrm>
          <a:off x="365125" y="1366345"/>
          <a:ext cx="8329612" cy="33601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192"/>
                <a:gridCol w="3699614"/>
                <a:gridCol w="2364855"/>
                <a:gridCol w="1799951"/>
              </a:tblGrid>
              <a:tr h="40990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l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gramme Nam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neficiary Type/Group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w FMR Code (2017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8356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LEP Special Search - Sensitization of 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ctor / Non-Medical Assistant / Non-Medical Supervisor / ASHA / Block Community Mobiliz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.1.3.i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VBDCP -  Acute Encephalitis Syndrome (AES)/ Japanese Encephalitis (J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ealth Work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.1.3.1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VBDCP - Dengue/Chikungunya - Community Sensitiz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.1.3.k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VBDCP - Kala Azar - Loss of Wages for KA Patien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tien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VBDCP - Lymphatic Filariasis (LF) - Mass Drug Administration (MDA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olunte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.1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VBDCP - Lymphatic Filariasis (LF) - Mass Drug Administration (MDA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perviso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.1.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VBDCP - Lymphatic Filiaris - One Time Line Listing of Lymphodema &amp; Hydrocele Cases in Non Endemic Distric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VBDCP - Malar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ealth Work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.1.1.b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lse Polio Campaig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pervisor / Vaccinato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.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953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KSK - Mobility Suppor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RSH Counsellor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.4.1.5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figured Programs in HM with FMR Codes</a:t>
            </a:r>
          </a:p>
        </p:txBody>
      </p:sp>
    </p:spTree>
    <p:extLst>
      <p:ext uri="{BB962C8B-B14F-4D97-AF65-F5344CB8AC3E}">
        <p14:creationId xmlns:p14="http://schemas.microsoft.com/office/powerpoint/2010/main" val="61031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8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663948132"/>
              </p:ext>
            </p:extLst>
          </p:nvPr>
        </p:nvGraphicFramePr>
        <p:xfrm>
          <a:off x="380250" y="1355835"/>
          <a:ext cx="8329612" cy="34344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4378"/>
                <a:gridCol w="3762704"/>
                <a:gridCol w="1765738"/>
                <a:gridCol w="2146792"/>
              </a:tblGrid>
              <a:tr h="38888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l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gramme Name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neficiary Type/Group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w FMR Code (2017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KSK - Support to Peer Educato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.1.3.4.1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KSK -Mobilizing Adolosecents for AH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.1.3.4.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NTCP - DO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tien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.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NTCP - DO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olunte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.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utine Immunis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.1.h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6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utine Immunisation - Alternate Vaccine Deliver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.1.i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utine Immunisation - Alternate Vaccine Deliver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.1.j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56418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utine Immunization - Focus on Slums and Underserved Urban Area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M/Hired Vaccinato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.1.G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outine Immunization - Quarterly Review Meeting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SH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2757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pdating Data through USS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N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.15.3.2.14.3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figured Programs in HM with FMR Codes</a:t>
            </a:r>
          </a:p>
        </p:txBody>
      </p:sp>
    </p:spTree>
    <p:extLst>
      <p:ext uri="{BB962C8B-B14F-4D97-AF65-F5344CB8AC3E}">
        <p14:creationId xmlns:p14="http://schemas.microsoft.com/office/powerpoint/2010/main" val="194034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1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eatures of PFMS Health Module</a:t>
            </a:r>
            <a:endParaRPr lang="en-US" b="1" dirty="0"/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371989" y="1298327"/>
            <a:ext cx="8322765" cy="39778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252" rtl="0" eaLnBrk="1" latinLnBrk="0" hangingPunct="1">
              <a:spcBef>
                <a:spcPct val="20000"/>
              </a:spcBef>
              <a:buClr>
                <a:srgbClr val="2F85AA"/>
              </a:buClr>
              <a:buFont typeface="Wingdings" pitchFamily="2" charset="2"/>
              <a:buNone/>
              <a:defRPr sz="14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33" indent="-182533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4432" indent="-149201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Arial" pitchFamily="34" charset="0"/>
              <a:buChar char="•"/>
              <a:tabLst>
                <a:tab pos="399985" algn="l"/>
              </a:tabLst>
              <a:defRPr sz="13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4266" indent="-171422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Arial" panose="020B0604020202020204" pitchFamily="34" charset="0"/>
              <a:buChar char="-"/>
              <a:defRPr sz="11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85688" indent="-171422" algn="l" defTabSz="914252" rtl="0" eaLnBrk="1" latinLnBrk="0" hangingPunct="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SzPct val="100000"/>
              <a:buFont typeface="Arial" panose="020B0604020202020204" pitchFamily="34" charset="0"/>
              <a:buChar char="◦"/>
              <a:defRPr sz="11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191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317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443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568" indent="-228563" algn="l" defTabSz="914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500" dirty="0" smtClean="0"/>
              <a:t>All NHM </a:t>
            </a:r>
            <a:r>
              <a:rPr lang="en-US" sz="1500" dirty="0"/>
              <a:t>payments </a:t>
            </a:r>
            <a:r>
              <a:rPr lang="en-US" sz="1500" dirty="0" smtClean="0"/>
              <a:t>including </a:t>
            </a:r>
            <a:r>
              <a:rPr lang="en-US" sz="1500" dirty="0"/>
              <a:t>ASHA </a:t>
            </a:r>
            <a:r>
              <a:rPr lang="en-US" sz="1500" dirty="0" smtClean="0"/>
              <a:t>payments can be made</a:t>
            </a:r>
            <a:endParaRPr lang="en-US" sz="15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500" dirty="0"/>
              <a:t>Developed </a:t>
            </a:r>
            <a:r>
              <a:rPr lang="en-US" sz="1500" dirty="0" smtClean="0"/>
              <a:t>as a part of PFMS within </a:t>
            </a:r>
            <a:r>
              <a:rPr lang="en-US" sz="1500" dirty="0"/>
              <a:t>existing PFMS software environment &amp; </a:t>
            </a:r>
            <a:r>
              <a:rPr lang="en-US" sz="1500" dirty="0" smtClean="0"/>
              <a:t>infrastructure</a:t>
            </a:r>
            <a:endParaRPr lang="en-US" sz="15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600" dirty="0"/>
              <a:t>SMS notifications to beneficiaries on payment approval in the system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500" dirty="0" smtClean="0"/>
              <a:t>Integration </a:t>
            </a:r>
            <a:r>
              <a:rPr lang="en-US" sz="1500" dirty="0"/>
              <a:t>with MCTS to register and validate Mother’s record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500" dirty="0" err="1" smtClean="0"/>
              <a:t>Aadhaar</a:t>
            </a:r>
            <a:r>
              <a:rPr lang="en-US" sz="1500" dirty="0" smtClean="0"/>
              <a:t> </a:t>
            </a:r>
            <a:r>
              <a:rPr lang="en-US" sz="1500" dirty="0"/>
              <a:t>numbers can be used for registration of beneficiaries &amp; payments (ABPS</a:t>
            </a:r>
            <a:r>
              <a:rPr lang="en-US" sz="1500" dirty="0" smtClean="0"/>
              <a:t>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500" dirty="0" smtClean="0"/>
              <a:t>PFMS Health Module leverages PFMS Bank Integration to make DBT payments to beneficiaries on more than 110+ bank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500" dirty="0"/>
              <a:t>Leverages PFMS Bank Account Validation Module to verify beneficiary accounts. </a:t>
            </a:r>
            <a:r>
              <a:rPr lang="en-US" sz="1500" i="1" dirty="0"/>
              <a:t>Payments can be made from any bank to any bank, including new upcoming banks</a:t>
            </a:r>
            <a:r>
              <a:rPr lang="en-US" sz="1600" dirty="0"/>
              <a:t>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 smtClean="0">
              <a:solidFill>
                <a:srgbClr val="92D050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>
              <a:solidFill>
                <a:srgbClr val="92D050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64146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94855" y="1917262"/>
            <a:ext cx="2659834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3600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4341671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1000" smtClean="0">
                <a:solidFill>
                  <a:srgbClr val="000000"/>
                </a:solidFill>
              </a:rPr>
              <a:pPr/>
              <a:t>2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nexure – Technical Details</a:t>
            </a:r>
            <a:endParaRPr lang="en-US" b="1" dirty="0"/>
          </a:p>
        </p:txBody>
      </p:sp>
      <p:graphicFrame>
        <p:nvGraphicFramePr>
          <p:cNvPr id="8" name="Content Placehold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921238060"/>
              </p:ext>
            </p:extLst>
          </p:nvPr>
        </p:nvGraphicFramePr>
        <p:xfrm>
          <a:off x="365125" y="1462088"/>
          <a:ext cx="8329614" cy="323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4807"/>
                <a:gridCol w="4164807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n-US" dirty="0" smtClean="0"/>
                        <a:t>Frameworks &amp; Products Used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VC 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TML5 Responsive Design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WCF </a:t>
                      </a:r>
                      <a:r>
                        <a:rPr lang="en-US" dirty="0" err="1" smtClean="0"/>
                        <a:t>SoA</a:t>
                      </a:r>
                      <a:r>
                        <a:rPr lang="en-US" dirty="0" smtClean="0"/>
                        <a:t> - 3 tier (Web/Business/DB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ootstrap Layout Architecture for UI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.NET 4.5.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ndroid Studio with JDK8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QL Server 2008 R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ustom Business</a:t>
                      </a:r>
                      <a:r>
                        <a:rPr lang="en-US" baseline="0" dirty="0" smtClean="0"/>
                        <a:t> Intelligence</a:t>
                      </a:r>
                      <a:r>
                        <a:rPr lang="en-US" dirty="0" smtClean="0"/>
                        <a:t> Tool leveraging OLAP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3rd Normalization For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RESTful Servic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oken based Authoriz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126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21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nnexure - Architectural diagram</a:t>
            </a:r>
            <a:endParaRPr lang="en-US" b="1" dirty="0"/>
          </a:p>
        </p:txBody>
      </p:sp>
      <p:pic>
        <p:nvPicPr>
          <p:cNvPr id="8" name="Content Placeholder 7"/>
          <p:cNvPicPr>
            <a:picLocks noGrp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649" y="945931"/>
            <a:ext cx="3478924" cy="3823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72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2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eatures </a:t>
            </a:r>
            <a:r>
              <a:rPr lang="en-US" b="1" dirty="0"/>
              <a:t>of PFMS Health </a:t>
            </a:r>
            <a:r>
              <a:rPr lang="en-US" b="1" dirty="0" smtClean="0"/>
              <a:t>Module</a:t>
            </a: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41434" y="1321826"/>
            <a:ext cx="8253321" cy="32056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342900" indent="-342900">
              <a:lnSpc>
                <a:spcPct val="150000"/>
              </a:lnSpc>
              <a:spcBef>
                <a:spcPct val="20000"/>
              </a:spcBef>
              <a:buClr>
                <a:srgbClr val="2F85AA"/>
              </a:buClr>
              <a:buFont typeface="+mj-lt"/>
              <a:buAutoNum type="arabicPeriod"/>
              <a:defRPr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  <a:lvl2pPr marL="182533" indent="-182533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2pPr>
            <a:lvl3pPr marL="344432" indent="-149201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Arial" pitchFamily="34" charset="0"/>
              <a:buChar char="•"/>
              <a:tabLst>
                <a:tab pos="399985" algn="l"/>
              </a:tabLst>
              <a:defRPr sz="13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3pPr>
            <a:lvl4pPr marL="514266" indent="-171422">
              <a:spcBef>
                <a:spcPct val="20000"/>
              </a:spcBef>
              <a:buClr>
                <a:schemeClr val="accent3">
                  <a:lumMod val="75000"/>
                </a:schemeClr>
              </a:buClr>
              <a:buFont typeface="Arial" panose="020B0604020202020204" pitchFamily="34" charset="0"/>
              <a:buChar char="-"/>
              <a:defRPr sz="11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4pPr>
            <a:lvl5pPr marL="685688" indent="-171422">
              <a:spcBef>
                <a:spcPct val="20000"/>
              </a:spcBef>
              <a:buClr>
                <a:schemeClr val="accent3">
                  <a:lumMod val="75000"/>
                </a:schemeClr>
              </a:buClr>
              <a:buSzPct val="100000"/>
              <a:buFont typeface="Arial" panose="020B0604020202020204" pitchFamily="34" charset="0"/>
              <a:buChar char="◦"/>
              <a:defRPr sz="11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5pPr>
            <a:lvl6pPr marL="2514191" indent="-22856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317" indent="-22856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443" indent="-22856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568" indent="-22856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buFont typeface="+mj-lt"/>
              <a:buAutoNum type="arabicPeriod" startAt="8"/>
            </a:pPr>
            <a:r>
              <a:rPr lang="en-US" dirty="0"/>
              <a:t>Single login id which allows existing PFMS users to access PFMS Health Module</a:t>
            </a:r>
          </a:p>
          <a:p>
            <a:pPr>
              <a:buFont typeface="+mj-lt"/>
              <a:buAutoNum type="arabicPeriod" startAt="8"/>
            </a:pPr>
            <a:r>
              <a:rPr lang="en-US" dirty="0" smtClean="0"/>
              <a:t>Automated </a:t>
            </a:r>
            <a:r>
              <a:rPr lang="en-US" dirty="0"/>
              <a:t>calculation of benefits based on pre-configured NHM approved rules</a:t>
            </a:r>
          </a:p>
          <a:p>
            <a:pPr>
              <a:buAutoNum type="arabicPeriod" startAt="8"/>
            </a:pPr>
            <a:r>
              <a:rPr lang="en-US" dirty="0"/>
              <a:t>Incentive &amp; PPP </a:t>
            </a:r>
            <a:r>
              <a:rPr lang="en-US" dirty="0" smtClean="0"/>
              <a:t>payments </a:t>
            </a:r>
            <a:r>
              <a:rPr lang="en-US" dirty="0"/>
              <a:t>available for </a:t>
            </a:r>
            <a:r>
              <a:rPr lang="en-US" dirty="0" smtClean="0"/>
              <a:t>configuration for any new state through a configurable admin module </a:t>
            </a:r>
          </a:p>
          <a:p>
            <a:pPr>
              <a:buAutoNum type="arabicPeriod" startAt="8"/>
            </a:pPr>
            <a:r>
              <a:rPr lang="en-US" dirty="0" smtClean="0"/>
              <a:t>Maker </a:t>
            </a:r>
            <a:r>
              <a:rPr lang="en-US" dirty="0"/>
              <a:t>- Checker process configurable up to 5 approval levels for better accountability (if </a:t>
            </a:r>
            <a:r>
              <a:rPr lang="en-US" dirty="0" smtClean="0"/>
              <a:t>required)</a:t>
            </a:r>
          </a:p>
          <a:p>
            <a:pPr>
              <a:buAutoNum type="arabicPeriod" startAt="8"/>
            </a:pPr>
            <a:r>
              <a:rPr lang="en-US" dirty="0" smtClean="0"/>
              <a:t>Simple </a:t>
            </a:r>
            <a:r>
              <a:rPr lang="en-US" dirty="0"/>
              <a:t>admin module to configure rules for any new state. </a:t>
            </a:r>
          </a:p>
          <a:p>
            <a:pPr>
              <a:buFont typeface="+mj-lt"/>
              <a:buAutoNum type="arabicPeriod" startAt="8"/>
            </a:pPr>
            <a:r>
              <a:rPr lang="en-US" dirty="0"/>
              <a:t>System is maintained by PFMS &amp; NIC with servers in Delhi and Hyderabad</a:t>
            </a:r>
          </a:p>
          <a:p>
            <a:pPr>
              <a:buAutoNum type="arabicPeriod" startAt="8"/>
            </a:pPr>
            <a:endParaRPr lang="en-US" dirty="0"/>
          </a:p>
          <a:p>
            <a:pPr>
              <a:buAutoNum type="arabicPeriod" startAt="8"/>
            </a:pPr>
            <a:endParaRPr lang="en-US" dirty="0"/>
          </a:p>
          <a:p>
            <a:pPr>
              <a:buAutoNum type="arabicPeriod" startAt="8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852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3</a:t>
            </a:fld>
            <a:endParaRPr lang="en-US" sz="900" dirty="0">
              <a:solidFill>
                <a:srgbClr val="000000"/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775385813"/>
              </p:ext>
            </p:extLst>
          </p:nvPr>
        </p:nvGraphicFramePr>
        <p:xfrm>
          <a:off x="354452" y="875174"/>
          <a:ext cx="8329614" cy="3947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4807"/>
                <a:gridCol w="416480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FMS (BASIC</a:t>
                      </a:r>
                      <a:r>
                        <a:rPr lang="en-US" baseline="0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FMS (HEALTH</a:t>
                      </a:r>
                      <a:r>
                        <a:rPr lang="en-US" baseline="0" dirty="0" smtClean="0"/>
                        <a:t> MODULE)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Manual Entry of payment amount for each Beneficia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Calculate payment amount based on pre-configured rules for each beneficiary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 notification</a:t>
                      </a:r>
                      <a:r>
                        <a:rPr lang="en-US" baseline="0" dirty="0" smtClean="0"/>
                        <a:t> to beneficia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MS notification to beneficiary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vent details</a:t>
                      </a:r>
                      <a:r>
                        <a:rPr lang="en-US" baseline="0" dirty="0" smtClean="0"/>
                        <a:t> not captur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vent details captured</a:t>
                      </a:r>
                      <a:r>
                        <a:rPr lang="en-US" baseline="0" dirty="0" smtClean="0"/>
                        <a:t> as per requirement for audit trail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tandard</a:t>
                      </a:r>
                      <a:r>
                        <a:rPr lang="en-US" baseline="0" dirty="0" smtClean="0"/>
                        <a:t> repor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ultiple data point capture for rich analytics, reports and metrics including BI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ayments possible </a:t>
                      </a:r>
                      <a:r>
                        <a:rPr lang="en-US" baseline="0" dirty="0" smtClean="0"/>
                        <a:t>against all listed FMRs once configured by </a:t>
                      </a:r>
                      <a:r>
                        <a:rPr lang="en-US" b="1" baseline="0" dirty="0" smtClean="0"/>
                        <a:t>PFM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ayments</a:t>
                      </a:r>
                      <a:r>
                        <a:rPr lang="en-US" baseline="0" dirty="0" smtClean="0"/>
                        <a:t> possible against all listed FMRs once configured by </a:t>
                      </a:r>
                      <a:r>
                        <a:rPr lang="en-US" b="1" baseline="0" dirty="0" smtClean="0"/>
                        <a:t>SHS</a:t>
                      </a:r>
                      <a:r>
                        <a:rPr lang="en-US" baseline="0" dirty="0" smtClean="0"/>
                        <a:t>. </a:t>
                      </a:r>
                      <a:r>
                        <a:rPr lang="en-US" b="1" baseline="0" dirty="0" smtClean="0"/>
                        <a:t>More authority to states.</a:t>
                      </a:r>
                      <a:endParaRPr lang="en-US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Traditional fixed User Interfa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dern, lightweight</a:t>
                      </a:r>
                      <a:r>
                        <a:rPr lang="en-US" baseline="0" dirty="0" smtClean="0"/>
                        <a:t> &amp; responsive UI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b="1" dirty="0" smtClean="0"/>
              <a:t>PFMS (basic) vs. PFMS health module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val="693756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5615" y="1785218"/>
            <a:ext cx="1765738" cy="23438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algn="ctr"/>
            <a:r>
              <a:rPr lang="en-US" sz="1400" dirty="0" smtClean="0"/>
              <a:t>MCTS -&gt; PFMS </a:t>
            </a:r>
          </a:p>
          <a:p>
            <a:pPr algn="ctr"/>
            <a:r>
              <a:rPr lang="en-US" sz="1400" dirty="0" smtClean="0"/>
              <a:t>Update Beneficiary Record</a:t>
            </a:r>
            <a:endParaRPr lang="en-US" sz="1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1000" smtClean="0">
                <a:solidFill>
                  <a:srgbClr val="000000"/>
                </a:solidFill>
              </a:rPr>
              <a:pPr/>
              <a:t>4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-Flow (in PFMs and PFMs Health module)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513017710"/>
              </p:ext>
            </p:extLst>
          </p:nvPr>
        </p:nvGraphicFramePr>
        <p:xfrm>
          <a:off x="199699" y="2043041"/>
          <a:ext cx="1313793" cy="12470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04270614"/>
              </p:ext>
            </p:extLst>
          </p:nvPr>
        </p:nvGraphicFramePr>
        <p:xfrm>
          <a:off x="2023230" y="778086"/>
          <a:ext cx="5013435" cy="2014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3252143"/>
              </p:ext>
            </p:extLst>
          </p:nvPr>
        </p:nvGraphicFramePr>
        <p:xfrm>
          <a:off x="2031218" y="2645043"/>
          <a:ext cx="5368065" cy="20487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779599457"/>
              </p:ext>
            </p:extLst>
          </p:nvPr>
        </p:nvGraphicFramePr>
        <p:xfrm>
          <a:off x="7367752" y="1191390"/>
          <a:ext cx="1639614" cy="33280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65142" y="1534510"/>
            <a:ext cx="914400" cy="2507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13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ep 1</a:t>
            </a:r>
          </a:p>
        </p:txBody>
      </p:sp>
    </p:spTree>
    <p:extLst>
      <p:ext uri="{BB962C8B-B14F-4D97-AF65-F5344CB8AC3E}">
        <p14:creationId xmlns:p14="http://schemas.microsoft.com/office/powerpoint/2010/main" val="57267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5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/>
              <a:t>WORKFLOW – beneficiary registration in </a:t>
            </a:r>
            <a:r>
              <a:rPr lang="en-US" sz="2000" b="1" dirty="0" err="1" smtClean="0"/>
              <a:t>pfms</a:t>
            </a:r>
            <a:r>
              <a:rPr lang="en-US" sz="2000" b="1" dirty="0" smtClean="0"/>
              <a:t> </a:t>
            </a:r>
            <a:endParaRPr lang="en-US" sz="2000" b="1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448183584"/>
              </p:ext>
            </p:extLst>
          </p:nvPr>
        </p:nvGraphicFramePr>
        <p:xfrm>
          <a:off x="744279" y="935664"/>
          <a:ext cx="7950476" cy="3859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1417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6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ADMIN CONFIGURATION</a:t>
            </a:r>
            <a:endParaRPr lang="en-US" b="1" dirty="0"/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333714" y="346056"/>
            <a:ext cx="2376148" cy="1993187"/>
          </a:xfrm>
          <a:prstGeom prst="rect">
            <a:avLst/>
          </a:prstGeo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Full UI Based Configura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First time users can configure without vendor support</a:t>
            </a:r>
            <a:endParaRPr lang="en-US" sz="16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Fast &amp; Expressive UI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Configurable  Payment Rules with review feature</a:t>
            </a:r>
            <a:endParaRPr lang="en-US" sz="16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600" dirty="0" smtClean="0"/>
              <a:t>Manageable by multiple users with full audit trail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 smtClean="0"/>
          </a:p>
          <a:p>
            <a:pPr>
              <a:lnSpc>
                <a:spcPct val="150000"/>
              </a:lnSpc>
            </a:pPr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42" y="1181528"/>
            <a:ext cx="5703966" cy="2989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06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7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65142" y="472180"/>
            <a:ext cx="8329613" cy="381930"/>
          </a:xfrm>
        </p:spPr>
        <p:txBody>
          <a:bodyPr/>
          <a:lstStyle/>
          <a:p>
            <a:r>
              <a:rPr lang="en-US" b="1" dirty="0" smtClean="0"/>
              <a:t>Event recording and approval process</a:t>
            </a:r>
            <a:endParaRPr lang="en-US" b="1" dirty="0"/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285207" y="3301995"/>
            <a:ext cx="8329613" cy="3683010"/>
          </a:xfrm>
          <a:prstGeom prst="rect">
            <a:avLst/>
          </a:prstGeom>
        </p:spPr>
        <p:txBody>
          <a:bodyPr/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sz="1600" dirty="0" smtClean="0"/>
          </a:p>
          <a:p>
            <a:pPr>
              <a:lnSpc>
                <a:spcPct val="150000"/>
              </a:lnSpc>
            </a:pPr>
            <a:endParaRPr lang="en-US" sz="1600" dirty="0" smtClean="0"/>
          </a:p>
        </p:txBody>
      </p:sp>
      <p:graphicFrame>
        <p:nvGraphicFramePr>
          <p:cNvPr id="5" name="Content Placehold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902835157"/>
              </p:ext>
            </p:extLst>
          </p:nvPr>
        </p:nvGraphicFramePr>
        <p:xfrm>
          <a:off x="365141" y="997754"/>
          <a:ext cx="8329614" cy="375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64807"/>
                <a:gridCol w="416480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000000"/>
                          </a:solidFill>
                        </a:rPr>
                        <a:t>EVENT RECORD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000000"/>
                          </a:solidFill>
                        </a:rPr>
                        <a:t>EVENT APPROVAL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Configuration of all approved NHM </a:t>
                      </a:r>
                      <a:r>
                        <a:rPr lang="en-US" sz="1800" dirty="0" err="1" smtClean="0"/>
                        <a:t>programmes</a:t>
                      </a:r>
                      <a:endParaRPr lang="en-US" sz="1800" dirty="0" smtClean="0"/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Simplistic UI to aid in fast data entry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Automated calculation of benefits based on latest rules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Preview of payment details prior to submission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Facilitates both bulk &amp; per record e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Read Only view to review &amp; approve event records for payments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Simplistic UI requiring minimal training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Bulk approval support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Preview of summarized &amp; full beneficiary payment details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lang="en-US" sz="1800" dirty="0" smtClean="0"/>
                        <a:t>Rejection of event records allowed with remarks and audit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991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z="900" smtClean="0">
                <a:solidFill>
                  <a:srgbClr val="000000"/>
                </a:solidFill>
              </a:rPr>
              <a:pPr/>
              <a:t>8</a:t>
            </a:fld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288662" y="272483"/>
            <a:ext cx="8329613" cy="381930"/>
          </a:xfrm>
        </p:spPr>
        <p:txBody>
          <a:bodyPr/>
          <a:lstStyle/>
          <a:p>
            <a:r>
              <a:rPr lang="en-US" sz="2000" b="1" dirty="0">
                <a:solidFill>
                  <a:srgbClr val="000000"/>
                </a:solidFill>
              </a:rPr>
              <a:t>JBSY RURAL </a:t>
            </a:r>
            <a:r>
              <a:rPr lang="en-US" sz="2000" b="1" dirty="0" smtClean="0">
                <a:solidFill>
                  <a:srgbClr val="000000"/>
                </a:solidFill>
              </a:rPr>
              <a:t>DELIVERY EVENT RECORDING UI </a:t>
            </a:r>
            <a:endParaRPr lang="en-US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607" y="654413"/>
            <a:ext cx="7147034" cy="424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0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tuCuOhlUyYU3CRYH8ff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zuTisi9Uqpjuy8hzMjs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x4W3XSj0O_9p4yWasWo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tuCuOhlUyYU3CRYH8ff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YgmCEKUemrX82qveVd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x4W3XSj0O_9p4yWasWo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YgmCEKUemrX82qveVd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j9b6FgIk2YhAmfs6OY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j9b6FgIk2YhAmfs6OYF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zuTisi9Uqpjuy8hzMjs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tuCuOhlUyYU3CRYH8ff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x4W3XSj0O_9p4yWasW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YgmCEKUemrX82qveVd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j9b6FgIk2YhAmfs6OY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zuTisi9Uqpjuy8hzMjs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zuTisi9Uqpjuy8hzMjs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tuCuOhlUyYU3CRYH8ff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x4W3XSj0O_9p4yWasWo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YgmCEKUemrX82qveVd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j9b6FgIk2YhAmfs6OYF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zuTisi9Uqpjuy8hzMj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tuCuOhlUyYU3CRYH8ff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x4W3XSj0O_9p4yWasWo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YgmCEKUemrX82qveVd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j9b6FgIk2YhAmfs6OYF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tuCuOhlUyYU3CRYH8f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zuTisi9Uqpjuy8hzMj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x4W3XSj0O_9p4yWasW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zYgmCEKUemrX82qveV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j9b6FgIk2YhAmfs6OY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p9Vk22rUm1jMejbopa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8AJCGNHUe4CDsi3Dli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0PhgnNoka4AbZBfNnn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2yCzmH_UCpkHSZda.I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kMnjqPkqsmRKXOqzH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Q388N2Uu5H5ejk45Zu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hm114Vke93SQLvcyhf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mJ42_Y0iF9OSo.Pkj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Q9wvQdFkeQPkpdixDel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Rk9TPCooiUeJKBm2cEVtEw"/>
</p:tagLst>
</file>

<file path=ppt/theme/theme1.xml><?xml version="1.0" encoding="utf-8"?>
<a:theme xmlns:a="http://schemas.openxmlformats.org/drawingml/2006/main" name="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47_blank">
  <a:themeElements>
    <a:clrScheme name="2_blank 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FFFFFF"/>
      </a:accent3>
      <a:accent4>
        <a:srgbClr val="4B3A22"/>
      </a:accent4>
      <a:accent5>
        <a:srgbClr val="C9BFAA"/>
      </a:accent5>
      <a:accent6>
        <a:srgbClr val="BA6024"/>
      </a:accent6>
      <a:hlink>
        <a:srgbClr val="8CB7C7"/>
      </a:hlink>
      <a:folHlink>
        <a:srgbClr val="E2EDF1"/>
      </a:folHlink>
    </a:clrScheme>
    <a:fontScheme name="2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E2EDF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_blank">
  <a:themeElements>
    <a:clrScheme name="2_blank 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FFFFFF"/>
      </a:accent3>
      <a:accent4>
        <a:srgbClr val="4B3A22"/>
      </a:accent4>
      <a:accent5>
        <a:srgbClr val="C9BFAA"/>
      </a:accent5>
      <a:accent6>
        <a:srgbClr val="BA6024"/>
      </a:accent6>
      <a:hlink>
        <a:srgbClr val="8CB7C7"/>
      </a:hlink>
      <a:folHlink>
        <a:srgbClr val="E2EDF1"/>
      </a:folHlink>
    </a:clrScheme>
    <a:fontScheme name="2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E2EDF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8_blank">
  <a:themeElements>
    <a:clrScheme name="2_blank 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FFFFFF"/>
      </a:accent3>
      <a:accent4>
        <a:srgbClr val="4B3A22"/>
      </a:accent4>
      <a:accent5>
        <a:srgbClr val="C9BFAA"/>
      </a:accent5>
      <a:accent6>
        <a:srgbClr val="BA6024"/>
      </a:accent6>
      <a:hlink>
        <a:srgbClr val="8CB7C7"/>
      </a:hlink>
      <a:folHlink>
        <a:srgbClr val="E2EDF1"/>
      </a:folHlink>
    </a:clrScheme>
    <a:fontScheme name="2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E2EDF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blank">
  <a:themeElements>
    <a:clrScheme name="2_blank 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FFFFFF"/>
      </a:accent3>
      <a:accent4>
        <a:srgbClr val="4B3A22"/>
      </a:accent4>
      <a:accent5>
        <a:srgbClr val="C9BFAA"/>
      </a:accent5>
      <a:accent6>
        <a:srgbClr val="BA6024"/>
      </a:accent6>
      <a:hlink>
        <a:srgbClr val="8CB7C7"/>
      </a:hlink>
      <a:folHlink>
        <a:srgbClr val="E2EDF1"/>
      </a:folHlink>
    </a:clrScheme>
    <a:fontScheme name="2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E2EDF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5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6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7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8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9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ial_alk.potx" id="{30C6253A-CEA6-4E10-A3D4-3F15982A2BA1}" vid="{65A0091D-3510-4BC1-9CC7-806222CCB7CD}"/>
    </a:ext>
  </a:extLst>
</a:theme>
</file>

<file path=ppt/theme/theme19.xml><?xml version="1.0" encoding="utf-8"?>
<a:theme xmlns:a="http://schemas.openxmlformats.org/drawingml/2006/main" name="10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Foundation_PowerPoint_Template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buFont typeface="Wingdings" pitchFamily="2" charset="2"/>
          <a:buChar char="§"/>
          <a:defRPr sz="2400" b="1" dirty="0" smtClean="0">
            <a:solidFill>
              <a:srgbClr val="5A471C"/>
            </a:solidFill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1_MASTER_4x3_Template">
  <a:themeElements>
    <a:clrScheme name="health 1">
      <a:dk1>
        <a:sysClr val="windowText" lastClr="000000"/>
      </a:dk1>
      <a:lt1>
        <a:sysClr val="window" lastClr="FFFFFF"/>
      </a:lt1>
      <a:dk2>
        <a:srgbClr val="666666"/>
      </a:dk2>
      <a:lt2>
        <a:srgbClr val="EEECE1"/>
      </a:lt2>
      <a:accent1>
        <a:srgbClr val="00BBEE"/>
      </a:accent1>
      <a:accent2>
        <a:srgbClr val="551155"/>
      </a:accent2>
      <a:accent3>
        <a:srgbClr val="FF9900"/>
      </a:accent3>
      <a:accent4>
        <a:srgbClr val="359B4C"/>
      </a:accent4>
      <a:accent5>
        <a:srgbClr val="002266"/>
      </a:accent5>
      <a:accent6>
        <a:srgbClr val="993399"/>
      </a:accent6>
      <a:hlink>
        <a:srgbClr val="00BBEE"/>
      </a:hlink>
      <a:folHlink>
        <a:srgbClr val="551155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1.xml><?xml version="1.0" encoding="utf-8"?>
<a:theme xmlns:a="http://schemas.openxmlformats.org/drawingml/2006/main" name="11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blank">
  <a:themeElements>
    <a:clrScheme name="2_blank 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FFFFFF"/>
      </a:accent3>
      <a:accent4>
        <a:srgbClr val="4B3A22"/>
      </a:accent4>
      <a:accent5>
        <a:srgbClr val="C9BFAA"/>
      </a:accent5>
      <a:accent6>
        <a:srgbClr val="BA6024"/>
      </a:accent6>
      <a:hlink>
        <a:srgbClr val="8CB7C7"/>
      </a:hlink>
      <a:folHlink>
        <a:srgbClr val="E2EDF1"/>
      </a:folHlink>
    </a:clrScheme>
    <a:fontScheme name="2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E2EDF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9_blank">
  <a:themeElements>
    <a:clrScheme name="2_blank 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FFFFFF"/>
      </a:accent3>
      <a:accent4>
        <a:srgbClr val="4B3A22"/>
      </a:accent4>
      <a:accent5>
        <a:srgbClr val="C9BFAA"/>
      </a:accent5>
      <a:accent6>
        <a:srgbClr val="BA6024"/>
      </a:accent6>
      <a:hlink>
        <a:srgbClr val="8CB7C7"/>
      </a:hlink>
      <a:folHlink>
        <a:srgbClr val="E2EDF1"/>
      </a:folHlink>
    </a:clrScheme>
    <a:fontScheme name="2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4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E2EDF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2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Foundation Master Slides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>
          <a:defRPr sz="13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F809067FDB2740A9350EFE55830A1D" ma:contentTypeVersion="0" ma:contentTypeDescription="Create a new document." ma:contentTypeScope="" ma:versionID="f129b7dfb28f29937eef93ff71cc35b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A266028-EBE8-48A1-A6ED-7958444FA0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4DBFE2A-3D3E-4B7D-855B-57828BD101B7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F08CB2A5-5056-4F7C-807A-E433E55508E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5026</TotalTime>
  <Words>1506</Words>
  <Application>Microsoft Office PowerPoint</Application>
  <PresentationFormat>On-screen Show (16:9)</PresentationFormat>
  <Paragraphs>373</Paragraphs>
  <Slides>2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51" baseType="lpstr">
      <vt:lpstr>Andes</vt:lpstr>
      <vt:lpstr>Andes Bold</vt:lpstr>
      <vt:lpstr>Arial</vt:lpstr>
      <vt:lpstr>Calibri</vt:lpstr>
      <vt:lpstr>Segoe</vt:lpstr>
      <vt:lpstr>Times New Roman</vt:lpstr>
      <vt:lpstr>Wingdings</vt:lpstr>
      <vt:lpstr>Foundation Master Slides</vt:lpstr>
      <vt:lpstr>Foundation_PowerPoint_Template</vt:lpstr>
      <vt:lpstr>5_blank</vt:lpstr>
      <vt:lpstr>1_Foundation Master Slides</vt:lpstr>
      <vt:lpstr>19_blank</vt:lpstr>
      <vt:lpstr>4_Foundation Master Slides</vt:lpstr>
      <vt:lpstr>2_Foundation Master Slides</vt:lpstr>
      <vt:lpstr>2_Office Theme</vt:lpstr>
      <vt:lpstr>3_Foundation Master Slides</vt:lpstr>
      <vt:lpstr>47_blank</vt:lpstr>
      <vt:lpstr>2_blank</vt:lpstr>
      <vt:lpstr>48_blank</vt:lpstr>
      <vt:lpstr>3_blank</vt:lpstr>
      <vt:lpstr>5_Foundation Master Slides</vt:lpstr>
      <vt:lpstr>6_Foundation Master Slides</vt:lpstr>
      <vt:lpstr>7_Foundation Master Slides</vt:lpstr>
      <vt:lpstr>8_Foundation Master Slides</vt:lpstr>
      <vt:lpstr>9_Foundation Master Slides</vt:lpstr>
      <vt:lpstr>10_Foundation Master Slides</vt:lpstr>
      <vt:lpstr>1_MASTER_4x3_Template</vt:lpstr>
      <vt:lpstr>11_Foundation Master Slides</vt:lpstr>
      <vt:lpstr>think-cell Slide</vt:lpstr>
      <vt:lpstr> Public financial management system Health module 30 Aug 2016, tirupati </vt:lpstr>
      <vt:lpstr>features of PFMS Health Module</vt:lpstr>
      <vt:lpstr>Features of PFMS Health Module</vt:lpstr>
      <vt:lpstr>PFMS (basic) vs. PFMS health module</vt:lpstr>
      <vt:lpstr>Work-Flow (in PFMs and PFMs Health module)</vt:lpstr>
      <vt:lpstr>WORKFLOW – beneficiary registration in pfms </vt:lpstr>
      <vt:lpstr>ADMIN CONFIGURATION</vt:lpstr>
      <vt:lpstr>Event recording and approval process</vt:lpstr>
      <vt:lpstr>JBSY RURAL DELIVERY EVENT RECORDING UI </vt:lpstr>
      <vt:lpstr>EVENT RECORDING – Beneficiary search UI</vt:lpstr>
      <vt:lpstr>Analytics and Reporting - 1</vt:lpstr>
      <vt:lpstr>Analytics and Reporting - 2</vt:lpstr>
      <vt:lpstr>MOBILE APPS</vt:lpstr>
      <vt:lpstr>Event Recording APP ui</vt:lpstr>
      <vt:lpstr>Event approval APP ui</vt:lpstr>
      <vt:lpstr>Configured Programs in HM with FMR Codes</vt:lpstr>
      <vt:lpstr>Configured Programs in HM with FMR Codes</vt:lpstr>
      <vt:lpstr>Configured Programs in HM with FMR Codes</vt:lpstr>
      <vt:lpstr>Configured Programs in HM with FMR Codes</vt:lpstr>
      <vt:lpstr>PowerPoint Presentation</vt:lpstr>
      <vt:lpstr>Annexure – Technical Details</vt:lpstr>
      <vt:lpstr>Annexure - Architectural diagram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Arun Sharma</cp:lastModifiedBy>
  <cp:revision>2314</cp:revision>
  <cp:lastPrinted>2016-05-25T13:25:36Z</cp:lastPrinted>
  <dcterms:created xsi:type="dcterms:W3CDTF">2013-05-08T21:44:22Z</dcterms:created>
  <dcterms:modified xsi:type="dcterms:W3CDTF">2016-08-30T02:3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F809067FDB2740A9350EFE55830A1D</vt:lpwstr>
  </property>
  <property fmtid="{D5CDD505-2E9C-101B-9397-08002B2CF9AE}" pid="3" name="Team Owner">
    <vt:lpwstr>9;#Global Brand ＆ Innovation|32dc302e-e8f0-42ab-b57c-5b5cae62133a</vt:lpwstr>
  </property>
  <property fmtid="{D5CDD505-2E9C-101B-9397-08002B2CF9AE}" pid="4" name="Topics">
    <vt:lpwstr/>
  </property>
</Properties>
</file>